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80" r:id="rId2"/>
    <p:sldId id="374" r:id="rId3"/>
    <p:sldId id="373" r:id="rId4"/>
    <p:sldId id="387" r:id="rId5"/>
    <p:sldId id="388" r:id="rId6"/>
    <p:sldId id="389" r:id="rId7"/>
    <p:sldId id="4389" r:id="rId8"/>
    <p:sldId id="4391" r:id="rId9"/>
    <p:sldId id="4390" r:id="rId10"/>
    <p:sldId id="4387" r:id="rId11"/>
    <p:sldId id="4386" r:id="rId12"/>
    <p:sldId id="4388" r:id="rId13"/>
    <p:sldId id="375" r:id="rId14"/>
    <p:sldId id="372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AD8"/>
    <a:srgbClr val="B0B3CB"/>
    <a:srgbClr val="9CB8BA"/>
    <a:srgbClr val="20757F"/>
    <a:srgbClr val="42A3AB"/>
    <a:srgbClr val="9EA7A6"/>
    <a:srgbClr val="227C8B"/>
    <a:srgbClr val="1C2C3D"/>
    <a:srgbClr val="17445D"/>
    <a:srgbClr val="193C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81893" autoAdjust="0"/>
  </p:normalViewPr>
  <p:slideViewPr>
    <p:cSldViewPr showGuides="1">
      <p:cViewPr varScale="1">
        <p:scale>
          <a:sx n="105" d="100"/>
          <a:sy n="105" d="100"/>
        </p:scale>
        <p:origin x="1889" y="45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5" d="100"/>
          <a:sy n="75" d="100"/>
        </p:scale>
        <p:origin x="2832" y="5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516C2E7-8540-4217-9C5C-82CED565E1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DECC7A-7509-4FCD-8791-5B18E91F78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793E3-4E5B-45F7-BE2C-54013C83C5C6}" type="datetimeFigureOut">
              <a:rPr lang="de-DE" smtClean="0"/>
              <a:t>20.10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229555-16A5-42E5-AA9F-FAA6D98CA8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6E7386-D43A-4656-88C8-3A9BCA087FC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DE44D-4B77-4836-9946-DA3A9454836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910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016CE-D1C5-49C4-80E2-0D9620CCFAF0}" type="datetimeFigureOut">
              <a:rPr lang="de-DE" smtClean="0"/>
              <a:t>20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8B26E-90DD-4F75-9543-DF10C34D64F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36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4260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037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917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354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2428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Option 1: Cool and Profession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Driver for a Vision</a:t>
            </a:r>
            <a:r>
              <a:rPr lang="en-US" dirty="0"/>
              <a:t>: Teal (#008080) – Calm and focuse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Alignment &amp; Decision-Making</a:t>
            </a:r>
            <a:r>
              <a:rPr lang="en-US" dirty="0"/>
              <a:t>: Soft Purple (#6A5ACD) – Reflecting balance and creativit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Finding the Best Solution</a:t>
            </a:r>
            <a:r>
              <a:rPr lang="en-US" dirty="0"/>
              <a:t>: Light Blue (#5DADE2) – Symbolizing clarity and insigh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A Great Team</a:t>
            </a:r>
            <a:r>
              <a:rPr lang="en-US" dirty="0"/>
              <a:t>: Dark Blue (#2E86C1) – Evoking trust and teamwork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Connecting Arrows or Circles</a:t>
            </a:r>
            <a:r>
              <a:rPr lang="en-US" dirty="0"/>
              <a:t>: Dark Gray (#2F4F4F) – Neutral but strong, tying the elements togeth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Central “LR” Text</a:t>
            </a:r>
            <a:r>
              <a:rPr lang="en-US" dirty="0"/>
              <a:t>: Dark Gray or Black (#000000) – For contrast and emphasis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1355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pic>
        <p:nvPicPr>
          <p:cNvPr id="8" name="DBLOGO_FIX">
            <a:extLst>
              <a:ext uri="{FF2B5EF4-FFF2-40B4-BE49-F238E27FC236}">
                <a16:creationId xmlns:a16="http://schemas.microsoft.com/office/drawing/2014/main" id="{AA49C202-A02A-4B01-B936-D0FA74FB8D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71" y="511987"/>
            <a:ext cx="1220486" cy="85450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buNone/>
              <a:defRPr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9554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PULS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98105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PULS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175993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92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4574D2F-0500-4A13-8529-ED82FC3897C9}"/>
              </a:ext>
            </a:extLst>
          </p:cNvPr>
          <p:cNvSpPr/>
          <p:nvPr userDrawn="1"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059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BLOGO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6515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BLOGO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2931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449388"/>
            <a:ext cx="11449049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823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8887A16-E540-417F-AEC5-F4B0FFDF4A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1449388"/>
            <a:ext cx="5545138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3A4453B-BB6A-434B-9D58-17979C3C6A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7" y="1449388"/>
            <a:ext cx="5545138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593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449388"/>
            <a:ext cx="5923409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5388" y="1449388"/>
            <a:ext cx="5545137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9857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5388" y="1449388"/>
            <a:ext cx="5916612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8272" y="1449388"/>
            <a:ext cx="5545137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985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0334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DBLOGO_FIX">
            <a:extLst>
              <a:ext uri="{FF2B5EF4-FFF2-40B4-BE49-F238E27FC236}">
                <a16:creationId xmlns:a16="http://schemas.microsoft.com/office/drawing/2014/main" id="{1DD18AD4-F767-4B83-B6E4-2F6A0882C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703" y="475902"/>
            <a:ext cx="1296622" cy="92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9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4397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567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Grau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980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6CD97-5D9A-4DD7-8FA9-F028A03B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5940B9-9206-49A7-9C4C-F7D534506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609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Statement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55632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Statement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3183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DBLOGO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786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DBLOGO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FontTx/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98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ild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88E6BB85-2CD9-4C46-9692-3B22C74A130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43925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e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8018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6235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et T-Ressor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84B3267-F679-BB3F-1C87-3D42A39A71B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97450" y="2852936"/>
            <a:ext cx="5493787" cy="245774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>
                <a:solidFill>
                  <a:srgbClr val="FFFFFF"/>
                </a:solidFill>
              </a:rPr>
              <a:t> 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11F6524-6D54-1315-4ECA-971F0AB25AE2}"/>
              </a:ext>
            </a:extLst>
          </p:cNvPr>
          <p:cNvSpPr/>
          <p:nvPr userDrawn="1"/>
        </p:nvSpPr>
        <p:spPr>
          <a:xfrm>
            <a:off x="419818" y="2060847"/>
            <a:ext cx="10764000" cy="40684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de-DE" sz="28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ir sind Teil des T-Ressorts</a:t>
            </a:r>
          </a:p>
        </p:txBody>
      </p:sp>
    </p:spTree>
    <p:extLst>
      <p:ext uri="{BB962C8B-B14F-4D97-AF65-F5344CB8AC3E}">
        <p14:creationId xmlns:p14="http://schemas.microsoft.com/office/powerpoint/2010/main" val="15234554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T-Ressor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B70F1E-D189-2ED5-2E37-B63E95F3201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485800" y="689247"/>
            <a:ext cx="1220400" cy="853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 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2F158F-3A73-9067-0D82-FD61D5CC47BC}"/>
              </a:ext>
            </a:extLst>
          </p:cNvPr>
          <p:cNvSpPr/>
          <p:nvPr userDrawn="1"/>
        </p:nvSpPr>
        <p:spPr>
          <a:xfrm>
            <a:off x="371476" y="3789040"/>
            <a:ext cx="11449273" cy="26642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de-DE" sz="1600" b="1" dirty="0">
                <a:solidFill>
                  <a:srgbClr val="EC0016"/>
                </a:solidFill>
              </a:rPr>
              <a:t>Kontakt</a:t>
            </a:r>
            <a:r>
              <a:rPr lang="de-DE" sz="1600" dirty="0"/>
              <a:t> </a:t>
            </a:r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12E234C5-7B5E-3BD8-53AF-83A6741F550F}"/>
              </a:ext>
            </a:extLst>
          </p:cNvPr>
          <p:cNvSpPr txBox="1">
            <a:spLocks/>
          </p:cNvSpPr>
          <p:nvPr userDrawn="1"/>
        </p:nvSpPr>
        <p:spPr>
          <a:xfrm>
            <a:off x="8976543" y="4477881"/>
            <a:ext cx="2495188" cy="15128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400" dirty="0">
                <a:solidFill>
                  <a:srgbClr val="000000"/>
                </a:solidFill>
              </a:rPr>
              <a:t>Wir sind Teil des T-Ressorts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CBD25D1F-84E5-8452-CA64-E026435C8D3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976320" y="4876715"/>
            <a:ext cx="2490256" cy="1114062"/>
          </a:xfrm>
          <a:prstGeom prst="rect">
            <a:avLst/>
          </a:prstGeom>
          <a:blipFill>
            <a:blip r:embed="rId4">
              <a:lum bright="-100000"/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masterTextbox1">
            <a:extLst>
              <a:ext uri="{FF2B5EF4-FFF2-40B4-BE49-F238E27FC236}">
                <a16:creationId xmlns:a16="http://schemas.microsoft.com/office/drawing/2014/main" id="{F323CD9A-1AE0-644A-286A-947A2DC5B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71476" y="2060847"/>
            <a:ext cx="11449050" cy="7200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None/>
              <a:defRPr sz="40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marL="179388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noProof="0"/>
              <a:t>Vielen Dank</a:t>
            </a:r>
            <a:endParaRPr lang="de-DE" noProof="0" dirty="0"/>
          </a:p>
        </p:txBody>
      </p:sp>
      <p:sp>
        <p:nvSpPr>
          <p:cNvPr id="25" name="Bildplatzhalter 23">
            <a:extLst>
              <a:ext uri="{FF2B5EF4-FFF2-40B4-BE49-F238E27FC236}">
                <a16:creationId xmlns:a16="http://schemas.microsoft.com/office/drawing/2014/main" id="{A95E9E14-EFBA-E5AF-4BD6-7C75FEBCB5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1216" y="4376717"/>
            <a:ext cx="691252" cy="852483"/>
          </a:xfrm>
          <a:solidFill>
            <a:srgbClr val="EFF2F2"/>
          </a:solidFill>
        </p:spPr>
        <p:txBody>
          <a:bodyPr/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 Bild</a:t>
            </a:r>
          </a:p>
        </p:txBody>
      </p:sp>
      <p:sp>
        <p:nvSpPr>
          <p:cNvPr id="26" name="Bildplatzhalter 23">
            <a:extLst>
              <a:ext uri="{FF2B5EF4-FFF2-40B4-BE49-F238E27FC236}">
                <a16:creationId xmlns:a16="http://schemas.microsoft.com/office/drawing/2014/main" id="{544B0CB5-9085-E717-E1CA-33B0884AD2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720" y="4376717"/>
            <a:ext cx="691252" cy="852483"/>
          </a:xfrm>
          <a:solidFill>
            <a:srgbClr val="EFF2F2"/>
          </a:solidFill>
        </p:spPr>
        <p:txBody>
          <a:bodyPr/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 Bild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79316419-437F-0E36-2F77-A0391612CA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580" y="4376717"/>
            <a:ext cx="3528392" cy="1738938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de-DE" sz="1400" b="1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1pPr>
            <a:lvl2pPr>
              <a:defRPr kumimoji="0" lang="de-DE" sz="1100" b="0" i="0" u="none" strike="noStrike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2pPr>
          </a:lstStyle>
          <a:p>
            <a:pPr marL="0" marR="0" lvl="0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Name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am VDT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xxxxxxx.xxxxx@deutschebahn.com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X Bereich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Jürgen-Ponto-Platz 2 | 60329 Frankfurt am Main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42B29C4B-0D69-7AA5-F2CF-DC7B103B80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4076" y="4376717"/>
            <a:ext cx="3528392" cy="1738938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de-DE" sz="1400" b="1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1pPr>
            <a:lvl2pPr>
              <a:defRPr kumimoji="0" lang="de-DE" sz="1100" b="0" i="0" u="none" strike="noStrike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2pPr>
          </a:lstStyle>
          <a:p>
            <a:pPr marL="0" marR="0" lvl="0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Name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am VDT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xxxxxxx.xxxxx@deutschebahn.com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X Bereich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Jürgen-Ponto-Platz 2 | 60329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22771375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easyBackground_Agenda">
            <a:extLst>
              <a:ext uri="{FF2B5EF4-FFF2-40B4-BE49-F238E27FC236}">
                <a16:creationId xmlns:a16="http://schemas.microsoft.com/office/drawing/2014/main" id="{27357142-6084-428B-8ECF-A7ACDE39022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4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56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DBLOGO">
            <a:extLst>
              <a:ext uri="{FF2B5EF4-FFF2-40B4-BE49-F238E27FC236}">
                <a16:creationId xmlns:a16="http://schemas.microsoft.com/office/drawing/2014/main" id="{4747C28C-A3D8-4E68-86B1-665C6A34EB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3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FontTx/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61290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F620A319-D564-4D18-92D7-8995EC1B261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6" name="DBLOGO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5800" y="1620783"/>
            <a:ext cx="5180400" cy="3625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50748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709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255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6" y="5920896"/>
            <a:ext cx="11449050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0214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920896"/>
            <a:ext cx="11449051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0652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ahm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364" y="1073676"/>
            <a:ext cx="7309209" cy="5415664"/>
          </a:xfrm>
          <a:prstGeom prst="roundRect">
            <a:avLst>
              <a:gd name="adj" fmla="val 1200"/>
            </a:avLst>
          </a:prstGeom>
          <a:solidFill>
            <a:schemeClr val="bg1">
              <a:alpha val="80000"/>
            </a:schemeClr>
          </a:solidFill>
        </p:spPr>
        <p:txBody>
          <a:bodyPr lIns="360000" tIns="252000" rIns="252000" bIns="2232000"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299" y="5467615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299" y="4371454"/>
            <a:ext cx="6643241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403" y="5922000"/>
            <a:ext cx="6661137" cy="38070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398F66B9-BCC0-498C-90EC-8CDC6A8B00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5140" y="1448780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9055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tx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BA5786-2392-A81B-601F-23973E1EAAC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812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DBLOGO_FIX">
            <a:extLst>
              <a:ext uri="{FF2B5EF4-FFF2-40B4-BE49-F238E27FC236}">
                <a16:creationId xmlns:a16="http://schemas.microsoft.com/office/drawing/2014/main" id="{F278C346-43C5-4148-9236-F5A3A56A68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615" y="354524"/>
            <a:ext cx="568198" cy="406082"/>
          </a:xfrm>
          <a:prstGeom prst="rect">
            <a:avLst/>
          </a:prstGeom>
        </p:spPr>
      </p:pic>
      <p:sp>
        <p:nvSpPr>
          <p:cNvPr id="16" name="PULS_FIX">
            <a:extLst>
              <a:ext uri="{FF2B5EF4-FFF2-40B4-BE49-F238E27FC236}">
                <a16:creationId xmlns:a16="http://schemas.microsoft.com/office/drawing/2014/main" id="{652B2642-5C15-4995-AB93-CA337E09B1DB}"/>
              </a:ext>
            </a:extLst>
          </p:cNvPr>
          <p:cNvSpPr>
            <a:spLocks/>
          </p:cNvSpPr>
          <p:nvPr userDrawn="1"/>
        </p:nvSpPr>
        <p:spPr bwMode="auto">
          <a:xfrm>
            <a:off x="11293475" y="6469871"/>
            <a:ext cx="542925" cy="55563"/>
          </a:xfrm>
          <a:custGeom>
            <a:avLst/>
            <a:gdLst>
              <a:gd name="T0" fmla="*/ 3590 w 3779"/>
              <a:gd name="T1" fmla="*/ 377 h 377"/>
              <a:gd name="T2" fmla="*/ 3590 w 3779"/>
              <a:gd name="T3" fmla="*/ 377 h 377"/>
              <a:gd name="T4" fmla="*/ 188 w 3779"/>
              <a:gd name="T5" fmla="*/ 377 h 377"/>
              <a:gd name="T6" fmla="*/ 0 w 3779"/>
              <a:gd name="T7" fmla="*/ 188 h 377"/>
              <a:gd name="T8" fmla="*/ 188 w 3779"/>
              <a:gd name="T9" fmla="*/ 0 h 377"/>
              <a:gd name="T10" fmla="*/ 3590 w 3779"/>
              <a:gd name="T11" fmla="*/ 0 h 377"/>
              <a:gd name="T12" fmla="*/ 3779 w 3779"/>
              <a:gd name="T13" fmla="*/ 188 h 377"/>
              <a:gd name="T14" fmla="*/ 3590 w 3779"/>
              <a:gd name="T15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79" h="377">
                <a:moveTo>
                  <a:pt x="3590" y="377"/>
                </a:moveTo>
                <a:lnTo>
                  <a:pt x="3590" y="377"/>
                </a:lnTo>
                <a:lnTo>
                  <a:pt x="188" y="377"/>
                </a:lnTo>
                <a:cubicBezTo>
                  <a:pt x="79" y="377"/>
                  <a:pt x="0" y="293"/>
                  <a:pt x="0" y="188"/>
                </a:cubicBezTo>
                <a:cubicBezTo>
                  <a:pt x="0" y="82"/>
                  <a:pt x="79" y="0"/>
                  <a:pt x="188" y="0"/>
                </a:cubicBezTo>
                <a:lnTo>
                  <a:pt x="3590" y="0"/>
                </a:lnTo>
                <a:cubicBezTo>
                  <a:pt x="3700" y="0"/>
                  <a:pt x="3779" y="82"/>
                  <a:pt x="3779" y="188"/>
                </a:cubicBezTo>
                <a:cubicBezTo>
                  <a:pt x="3779" y="293"/>
                  <a:pt x="3700" y="377"/>
                  <a:pt x="3590" y="37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" name="REDOVERLAY">
            <a:extLst>
              <a:ext uri="{FF2B5EF4-FFF2-40B4-BE49-F238E27FC236}">
                <a16:creationId xmlns:a16="http://schemas.microsoft.com/office/drawing/2014/main" id="{DC51C0DB-E954-4822-929C-3677B06222CC}"/>
              </a:ext>
            </a:extLst>
          </p:cNvPr>
          <p:cNvSpPr/>
          <p:nvPr userDrawn="1"/>
        </p:nvSpPr>
        <p:spPr>
          <a:xfrm>
            <a:off x="7879963" y="6232613"/>
            <a:ext cx="2880000" cy="540000"/>
          </a:xfrm>
          <a:prstGeom prst="rect">
            <a:avLst/>
          </a:prstGeom>
          <a:solidFill>
            <a:srgbClr val="EC0016"/>
          </a:solidFill>
          <a:ln>
            <a:solidFill>
              <a:srgbClr val="EC00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marL="0" indent="0" algn="r">
              <a:buClr>
                <a:schemeClr val="accent2"/>
              </a:buClr>
              <a:buFont typeface="DB Sans" panose="020B0502050202020204" pitchFamily="34" charset="0"/>
              <a:buNone/>
            </a:pPr>
            <a:endParaRPr lang="de-DE" sz="1600" dirty="0">
              <a:solidFill>
                <a:srgbClr val="FFFFFF"/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151D573-2406-64BD-9FF6-DF5FDA841E5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6893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7DB810-CDF5-41AC-8E51-9EBC8EC0B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0602893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AE7966-514A-4D81-97FD-6AD3A07C8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449388"/>
            <a:ext cx="11449051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C0766E-DEEA-4949-912D-67F535F0E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37600"/>
            <a:ext cx="10602902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74309D-71AA-45D4-974A-6D58CB176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0027" y="6538648"/>
            <a:ext cx="520498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629909-3F3B-B946-91EF-D49519C4F1F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0903" y="368660"/>
            <a:ext cx="539622" cy="3778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DE7FD38-4C24-1C44-B92F-B053B9DC1D6B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3200" y="6472800"/>
            <a:ext cx="540000" cy="5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72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1" r:id="rId3"/>
    <p:sldLayoutId id="2147483675" r:id="rId4"/>
    <p:sldLayoutId id="2147483683" r:id="rId5"/>
    <p:sldLayoutId id="2147483684" r:id="rId6"/>
    <p:sldLayoutId id="2147483663" r:id="rId7"/>
    <p:sldLayoutId id="2147483681" r:id="rId8"/>
    <p:sldLayoutId id="2147483680" r:id="rId9"/>
    <p:sldLayoutId id="2147483666" r:id="rId10"/>
    <p:sldLayoutId id="2147483682" r:id="rId11"/>
    <p:sldLayoutId id="2147483664" r:id="rId12"/>
    <p:sldLayoutId id="2147483665" r:id="rId13"/>
    <p:sldLayoutId id="2147483679" r:id="rId14"/>
    <p:sldLayoutId id="2147483650" r:id="rId15"/>
    <p:sldLayoutId id="2147483673" r:id="rId16"/>
    <p:sldLayoutId id="2147483685" r:id="rId17"/>
    <p:sldLayoutId id="2147483674" r:id="rId18"/>
    <p:sldLayoutId id="2147483668" r:id="rId19"/>
    <p:sldLayoutId id="2147483677" r:id="rId20"/>
    <p:sldLayoutId id="2147483654" r:id="rId21"/>
    <p:sldLayoutId id="2147483670" r:id="rId22"/>
    <p:sldLayoutId id="2147483655" r:id="rId23"/>
    <p:sldLayoutId id="2147483669" r:id="rId24"/>
    <p:sldLayoutId id="2147483676" r:id="rId25"/>
    <p:sldLayoutId id="2147483667" r:id="rId26"/>
    <p:sldLayoutId id="2147483678" r:id="rId27"/>
    <p:sldLayoutId id="2147483658" r:id="rId28"/>
    <p:sldLayoutId id="2147483657" r:id="rId29"/>
    <p:sldLayoutId id="2147483692" r:id="rId30"/>
    <p:sldLayoutId id="2147483691" r:id="rId31"/>
    <p:sldLayoutId id="2147483690" r:id="rId32"/>
    <p:sldLayoutId id="2147483660" r:id="rId33"/>
    <p:sldLayoutId id="2147483693" r:id="rId3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861" userDrawn="1">
          <p15:clr>
            <a:srgbClr val="F26B43"/>
          </p15:clr>
        </p15:guide>
        <p15:guide id="11" pos="2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8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12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2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1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0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slideLayout" Target="../slideLayouts/slideLayout34.xml"/><Relationship Id="rId4" Type="http://schemas.openxmlformats.org/officeDocument/2006/relationships/tags" Target="../tags/tag6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4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1.bin"/><Relationship Id="rId4" Type="http://schemas.openxmlformats.org/officeDocument/2006/relationships/tags" Target="../tags/tag25.xml"/><Relationship Id="rId9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14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2.xml"/><Relationship Id="rId9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4.emf"/><Relationship Id="rId5" Type="http://schemas.openxmlformats.org/officeDocument/2006/relationships/tags" Target="../tags/tag40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9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6.jpe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15.jpe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image" Target="../media/image14.emf"/><Relationship Id="rId5" Type="http://schemas.openxmlformats.org/officeDocument/2006/relationships/tags" Target="../tags/tag47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6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6.jpeg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15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image" Target="../media/image14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53.xml"/><Relationship Id="rId9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59.xml"/><Relationship Id="rId7" Type="http://schemas.openxmlformats.org/officeDocument/2006/relationships/image" Target="../media/image14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35BBD1-1E89-36E2-9AE6-B1F1153D6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-Vorgaben für die Masternutzung</a:t>
            </a:r>
            <a:endParaRPr lang="de-DE" dirty="0">
              <a:latin typeface="DB Head Light" panose="020B030205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33F401E-3CFF-71CD-EE5C-BF345BBDC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92009-8A0C-49D6-941B-783140FD9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</a:rPr>
              <a:t>1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E65E75C-4A91-59F2-B840-D8173DD7C998}"/>
              </a:ext>
            </a:extLst>
          </p:cNvPr>
          <p:cNvSpPr txBox="1">
            <a:spLocks/>
          </p:cNvSpPr>
          <p:nvPr/>
        </p:nvSpPr>
        <p:spPr>
          <a:xfrm>
            <a:off x="623392" y="1448782"/>
            <a:ext cx="11197245" cy="435193"/>
          </a:xfrm>
          <a:prstGeom prst="rect">
            <a:avLst/>
          </a:prstGeom>
          <a:solidFill>
            <a:srgbClr val="FFFFFF"/>
          </a:solidFill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3538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0000"/>
                </a:solidFill>
              </a:rPr>
              <a:t>Wir differenzieren uns zukünftig über eine individuelle Fußzeilenlogik. Logos, Visuals, Signets werden zukünftig nicht mehr auf den Charts gezeigt!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35CC0A8-0662-91C1-C523-05C6CF380662}"/>
              </a:ext>
            </a:extLst>
          </p:cNvPr>
          <p:cNvGrpSpPr/>
          <p:nvPr/>
        </p:nvGrpSpPr>
        <p:grpSpPr>
          <a:xfrm>
            <a:off x="371364" y="2172009"/>
            <a:ext cx="11449273" cy="3957293"/>
            <a:chOff x="371364" y="2172008"/>
            <a:chExt cx="11449273" cy="3957293"/>
          </a:xfrm>
        </p:grpSpPr>
        <p:sp>
          <p:nvSpPr>
            <p:cNvPr id="8" name="masterTextbox1">
              <a:extLst>
                <a:ext uri="{FF2B5EF4-FFF2-40B4-BE49-F238E27FC236}">
                  <a16:creationId xmlns:a16="http://schemas.microsoft.com/office/drawing/2014/main" id="{031923C6-5CD4-4D00-B30B-FAB51DA54065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371364" y="2172008"/>
              <a:ext cx="5544637" cy="3957293"/>
            </a:xfrm>
            <a:prstGeom prst="rect">
              <a:avLst/>
            </a:prstGeom>
            <a:solidFill>
              <a:srgbClr val="EFF2F2"/>
            </a:solidFill>
          </p:spPr>
          <p:txBody>
            <a:bodyPr vert="horz" lIns="144000" tIns="144000" rIns="144000" bIns="14400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400" dirty="0">
                  <a:solidFill>
                    <a:srgbClr val="000000"/>
                  </a:solidFill>
                </a:rPr>
                <a:t>Individualisierung für </a:t>
              </a:r>
              <a:r>
                <a:rPr lang="de-DE" sz="1400" b="1" u="sng" dirty="0">
                  <a:solidFill>
                    <a:srgbClr val="000000"/>
                  </a:solidFill>
                </a:rPr>
                <a:t>nicht</a:t>
              </a:r>
              <a:r>
                <a:rPr lang="de-DE" sz="1400" b="1" dirty="0">
                  <a:solidFill>
                    <a:srgbClr val="000000"/>
                  </a:solidFill>
                </a:rPr>
                <a:t> easySlides Nutzer</a:t>
              </a:r>
            </a:p>
          </p:txBody>
        </p:sp>
        <p:sp>
          <p:nvSpPr>
            <p:cNvPr id="51" name="masterTextbox1">
              <a:extLst>
                <a:ext uri="{FF2B5EF4-FFF2-40B4-BE49-F238E27FC236}">
                  <a16:creationId xmlns:a16="http://schemas.microsoft.com/office/drawing/2014/main" id="{F82E237C-2176-5099-4BFB-69E3125419FF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6276000" y="2172008"/>
              <a:ext cx="5544637" cy="3957293"/>
            </a:xfrm>
            <a:prstGeom prst="rect">
              <a:avLst/>
            </a:prstGeom>
            <a:solidFill>
              <a:srgbClr val="EFF2F2"/>
            </a:solidFill>
          </p:spPr>
          <p:txBody>
            <a:bodyPr vert="horz" lIns="144000" tIns="144000" rIns="144000" bIns="14400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400" dirty="0">
                  <a:solidFill>
                    <a:srgbClr val="000000"/>
                  </a:solidFill>
                </a:rPr>
                <a:t>Individualisierung für </a:t>
              </a:r>
              <a:r>
                <a:rPr lang="de-DE" sz="1400" b="1" dirty="0">
                  <a:solidFill>
                    <a:srgbClr val="000000"/>
                  </a:solidFill>
                </a:rPr>
                <a:t>easySlides Nutzer</a:t>
              </a:r>
            </a:p>
          </p:txBody>
        </p: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6FACE6A0-7C6B-C029-9F49-8D1EF6764AAD}"/>
                </a:ext>
              </a:extLst>
            </p:cNvPr>
            <p:cNvGrpSpPr/>
            <p:nvPr/>
          </p:nvGrpSpPr>
          <p:grpSpPr>
            <a:xfrm>
              <a:off x="1404156" y="2885198"/>
              <a:ext cx="4248655" cy="3094008"/>
              <a:chOff x="371363" y="1940960"/>
              <a:chExt cx="4871615" cy="3576272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01CACF92-D2FC-9742-BB3D-2DD78B18DE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71363" y="1940960"/>
                <a:ext cx="4871615" cy="3576272"/>
              </a:xfrm>
              <a:prstGeom prst="rect">
                <a:avLst/>
              </a:prstGeom>
            </p:spPr>
          </p:pic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C2F6B365-EE0B-471F-951F-B51F5BA038AC}"/>
                  </a:ext>
                </a:extLst>
              </p:cNvPr>
              <p:cNvSpPr/>
              <p:nvPr/>
            </p:nvSpPr>
            <p:spPr>
              <a:xfrm>
                <a:off x="551384" y="4221088"/>
                <a:ext cx="3600400" cy="452368"/>
              </a:xfrm>
              <a:prstGeom prst="rect">
                <a:avLst/>
              </a:prstGeom>
              <a:noFill/>
              <a:ln>
                <a:solidFill>
                  <a:srgbClr val="EC001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3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buClr>
                    <a:schemeClr val="accent2"/>
                  </a:buClr>
                </a:pPr>
                <a:endParaRPr lang="de-DE" sz="1600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4105CDFD-B792-C4E6-2C2E-E6CD2A602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06600" y="2756469"/>
              <a:ext cx="629325" cy="758632"/>
            </a:xfrm>
            <a:prstGeom prst="rect">
              <a:avLst/>
            </a:prstGeom>
          </p:spPr>
        </p:pic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064538E3-E446-B54D-4889-5215A083C99F}"/>
                </a:ext>
              </a:extLst>
            </p:cNvPr>
            <p:cNvGrpSpPr/>
            <p:nvPr/>
          </p:nvGrpSpPr>
          <p:grpSpPr>
            <a:xfrm>
              <a:off x="7769762" y="2690929"/>
              <a:ext cx="2669870" cy="999462"/>
              <a:chOff x="6276001" y="2492896"/>
              <a:chExt cx="3209925" cy="1201631"/>
            </a:xfrm>
          </p:grpSpPr>
          <p:pic>
            <p:nvPicPr>
              <p:cNvPr id="14" name="Grafik 13">
                <a:extLst>
                  <a:ext uri="{FF2B5EF4-FFF2-40B4-BE49-F238E27FC236}">
                    <a16:creationId xmlns:a16="http://schemas.microsoft.com/office/drawing/2014/main" id="{4DCD82E7-6199-733A-3393-D9449C6954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3"/>
              <a:srcRect t="73711"/>
              <a:stretch/>
            </p:blipFill>
            <p:spPr>
              <a:xfrm>
                <a:off x="6276001" y="2595261"/>
                <a:ext cx="3209925" cy="1099266"/>
              </a:xfrm>
              <a:prstGeom prst="rect">
                <a:avLst/>
              </a:prstGeom>
            </p:spPr>
          </p:pic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0B2FB1A3-F8C6-2578-1B98-40D8F2AE20D8}"/>
                  </a:ext>
                </a:extLst>
              </p:cNvPr>
              <p:cNvGrpSpPr/>
              <p:nvPr/>
            </p:nvGrpSpPr>
            <p:grpSpPr>
              <a:xfrm>
                <a:off x="6281081" y="2492896"/>
                <a:ext cx="3168000" cy="183984"/>
                <a:chOff x="6276001" y="1986840"/>
                <a:chExt cx="3236253" cy="183984"/>
              </a:xfrm>
            </p:grpSpPr>
            <p:sp>
              <p:nvSpPr>
                <p:cNvPr id="32" name="Raute 31">
                  <a:extLst>
                    <a:ext uri="{FF2B5EF4-FFF2-40B4-BE49-F238E27FC236}">
                      <a16:creationId xmlns:a16="http://schemas.microsoft.com/office/drawing/2014/main" id="{5815BD88-04A8-FE3D-1F04-5E8EB3D80738}"/>
                    </a:ext>
                  </a:extLst>
                </p:cNvPr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6276002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" name="Raute 32">
                  <a:extLst>
                    <a:ext uri="{FF2B5EF4-FFF2-40B4-BE49-F238E27FC236}">
                      <a16:creationId xmlns:a16="http://schemas.microsoft.com/office/drawing/2014/main" id="{D4ADFF78-7877-D873-5EA7-58A1F0631B80}"/>
                    </a:ext>
                  </a:extLst>
                </p:cNvPr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6476728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Raute 33">
                  <a:extLst>
                    <a:ext uri="{FF2B5EF4-FFF2-40B4-BE49-F238E27FC236}">
                      <a16:creationId xmlns:a16="http://schemas.microsoft.com/office/drawing/2014/main" id="{A7358208-4588-66A3-8154-6614BBEFFE68}"/>
                    </a:ext>
                  </a:extLst>
                </p:cNvPr>
                <p:cNvSpPr/>
                <p:nvPr>
                  <p:custDataLst>
                    <p:tags r:id="rId5"/>
                  </p:custDataLst>
                </p:nvPr>
              </p:nvSpPr>
              <p:spPr>
                <a:xfrm>
                  <a:off x="6677453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Raute 34">
                  <a:extLst>
                    <a:ext uri="{FF2B5EF4-FFF2-40B4-BE49-F238E27FC236}">
                      <a16:creationId xmlns:a16="http://schemas.microsoft.com/office/drawing/2014/main" id="{DF17EE5D-B8AE-CCC6-82EA-C1F649D94D6C}"/>
                    </a:ext>
                  </a:extLst>
                </p:cNvPr>
                <p:cNvSpPr/>
                <p:nvPr>
                  <p:custDataLst>
                    <p:tags r:id="rId6"/>
                  </p:custDataLst>
                </p:nvPr>
              </p:nvSpPr>
              <p:spPr>
                <a:xfrm>
                  <a:off x="6878179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" name="Raute 35">
                  <a:extLst>
                    <a:ext uri="{FF2B5EF4-FFF2-40B4-BE49-F238E27FC236}">
                      <a16:creationId xmlns:a16="http://schemas.microsoft.com/office/drawing/2014/main" id="{330F39D8-E0A1-C43F-B16D-544C0E81E6A8}"/>
                    </a:ext>
                  </a:extLst>
                </p:cNvPr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7078904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" name="Raute 36">
                  <a:extLst>
                    <a:ext uri="{FF2B5EF4-FFF2-40B4-BE49-F238E27FC236}">
                      <a16:creationId xmlns:a16="http://schemas.microsoft.com/office/drawing/2014/main" id="{A99162DA-7FFE-BE12-47D9-A2F726DABDDD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7279630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" name="Raute 37">
                  <a:extLst>
                    <a:ext uri="{FF2B5EF4-FFF2-40B4-BE49-F238E27FC236}">
                      <a16:creationId xmlns:a16="http://schemas.microsoft.com/office/drawing/2014/main" id="{2325DDAE-4C12-8BB2-3607-58136453A940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7480356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" name="Raute 38">
                  <a:extLst>
                    <a:ext uri="{FF2B5EF4-FFF2-40B4-BE49-F238E27FC236}">
                      <a16:creationId xmlns:a16="http://schemas.microsoft.com/office/drawing/2014/main" id="{C1AE8214-032F-5C9D-8901-5C8E902DAB2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7681082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Raute 39">
                  <a:extLst>
                    <a:ext uri="{FF2B5EF4-FFF2-40B4-BE49-F238E27FC236}">
                      <a16:creationId xmlns:a16="http://schemas.microsoft.com/office/drawing/2014/main" id="{6EABE8F2-FD3E-897F-B28B-8AD8FCE01372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7881808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aute 40">
                  <a:extLst>
                    <a:ext uri="{FF2B5EF4-FFF2-40B4-BE49-F238E27FC236}">
                      <a16:creationId xmlns:a16="http://schemas.microsoft.com/office/drawing/2014/main" id="{52F36193-B53D-56C0-E4E4-33E9BC2A6EE4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8082533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" name="Raute 41">
                  <a:extLst>
                    <a:ext uri="{FF2B5EF4-FFF2-40B4-BE49-F238E27FC236}">
                      <a16:creationId xmlns:a16="http://schemas.microsoft.com/office/drawing/2014/main" id="{029E080F-57F8-0A43-680D-1DA1A733D19E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8283259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" name="Raute 42">
                  <a:extLst>
                    <a:ext uri="{FF2B5EF4-FFF2-40B4-BE49-F238E27FC236}">
                      <a16:creationId xmlns:a16="http://schemas.microsoft.com/office/drawing/2014/main" id="{6ED1F5A4-596F-1E3B-2021-40615059FC1B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8483984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" name="Raute 19">
                  <a:extLst>
                    <a:ext uri="{FF2B5EF4-FFF2-40B4-BE49-F238E27FC236}">
                      <a16:creationId xmlns:a16="http://schemas.microsoft.com/office/drawing/2014/main" id="{F460D238-F680-1AE9-FFD2-3631F92BDB3C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8684710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" name="Raute 20">
                  <a:extLst>
                    <a:ext uri="{FF2B5EF4-FFF2-40B4-BE49-F238E27FC236}">
                      <a16:creationId xmlns:a16="http://schemas.microsoft.com/office/drawing/2014/main" id="{65CD1790-5CCD-41BD-2F7A-8F760D9CCEFC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8891596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" name="Raute 21">
                  <a:extLst>
                    <a:ext uri="{FF2B5EF4-FFF2-40B4-BE49-F238E27FC236}">
                      <a16:creationId xmlns:a16="http://schemas.microsoft.com/office/drawing/2014/main" id="{E8ADD56C-2AC9-6B8B-F16D-02610A040584}"/>
                    </a:ext>
                  </a:extLst>
                </p:cNvPr>
                <p:cNvSpPr/>
                <p:nvPr>
                  <p:custDataLst>
                    <p:tags r:id="rId17"/>
                  </p:custDataLst>
                </p:nvPr>
              </p:nvSpPr>
              <p:spPr>
                <a:xfrm>
                  <a:off x="9098482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" name="Raute 22">
                  <a:extLst>
                    <a:ext uri="{FF2B5EF4-FFF2-40B4-BE49-F238E27FC236}">
                      <a16:creationId xmlns:a16="http://schemas.microsoft.com/office/drawing/2014/main" id="{3AAF7580-07FD-39FD-1FEA-71ACFE01B815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9305368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E19E77F2-72A4-EC68-15E3-B43E87B63793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 bwMode="gray">
                <a:xfrm>
                  <a:off x="6276001" y="2072297"/>
                  <a:ext cx="3236253" cy="98527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1A1D65A4-91F4-FB56-6EBF-DAA7D35E5189}"/>
                </a:ext>
              </a:extLst>
            </p:cNvPr>
            <p:cNvGrpSpPr/>
            <p:nvPr/>
          </p:nvGrpSpPr>
          <p:grpSpPr>
            <a:xfrm>
              <a:off x="6456018" y="2756469"/>
              <a:ext cx="1111183" cy="982386"/>
              <a:chOff x="6276000" y="2617146"/>
              <a:chExt cx="1111183" cy="982386"/>
            </a:xfrm>
          </p:grpSpPr>
          <p:pic>
            <p:nvPicPr>
              <p:cNvPr id="46" name="Grafik 45">
                <a:extLst>
                  <a:ext uri="{FF2B5EF4-FFF2-40B4-BE49-F238E27FC236}">
                    <a16:creationId xmlns:a16="http://schemas.microsoft.com/office/drawing/2014/main" id="{0F41E204-18FA-A511-561F-46706A2090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/>
              <a:srcRect l="31914"/>
              <a:stretch/>
            </p:blipFill>
            <p:spPr>
              <a:xfrm>
                <a:off x="6276000" y="2617146"/>
                <a:ext cx="1111183" cy="982386"/>
              </a:xfrm>
              <a:prstGeom prst="rect">
                <a:avLst/>
              </a:prstGeom>
            </p:spPr>
          </p:pic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E4587E95-64E7-7258-B86D-DE8BB1EAE1A6}"/>
                  </a:ext>
                </a:extLst>
              </p:cNvPr>
              <p:cNvSpPr/>
              <p:nvPr/>
            </p:nvSpPr>
            <p:spPr>
              <a:xfrm>
                <a:off x="6750633" y="2663483"/>
                <a:ext cx="598930" cy="772096"/>
              </a:xfrm>
              <a:prstGeom prst="rect">
                <a:avLst/>
              </a:prstGeom>
              <a:noFill/>
              <a:ln>
                <a:solidFill>
                  <a:srgbClr val="EC001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3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buClr>
                    <a:schemeClr val="accent2"/>
                  </a:buClr>
                </a:pPr>
                <a:endParaRPr lang="de-DE" sz="16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08406F2-7BF2-E8C4-CF04-01D175337D94}"/>
                </a:ext>
              </a:extLst>
            </p:cNvPr>
            <p:cNvSpPr/>
            <p:nvPr/>
          </p:nvSpPr>
          <p:spPr>
            <a:xfrm>
              <a:off x="7852322" y="3403224"/>
              <a:ext cx="2390431" cy="201855"/>
            </a:xfrm>
            <a:prstGeom prst="rect">
              <a:avLst/>
            </a:prstGeom>
            <a:noFill/>
            <a:ln>
              <a:solidFill>
                <a:srgbClr val="EC001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E32A8687-5EF4-F65C-B6A6-668F77F024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6456018" y="3898772"/>
              <a:ext cx="4439737" cy="2047141"/>
            </a:xfrm>
            <a:prstGeom prst="rect">
              <a:avLst/>
            </a:prstGeom>
          </p:spPr>
        </p:pic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E652DFE0-D3B4-D66F-DE88-E37108428870}"/>
                </a:ext>
              </a:extLst>
            </p:cNvPr>
            <p:cNvCxnSpPr/>
            <p:nvPr/>
          </p:nvCxnSpPr>
          <p:spPr>
            <a:xfrm>
              <a:off x="6096001" y="2172008"/>
              <a:ext cx="0" cy="3957293"/>
            </a:xfrm>
            <a:prstGeom prst="line">
              <a:avLst/>
            </a:prstGeom>
            <a:ln w="6350" cmpd="sng">
              <a:solidFill>
                <a:srgbClr val="AFB4B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eform: Shape 37">
            <a:extLst>
              <a:ext uri="{FF2B5EF4-FFF2-40B4-BE49-F238E27FC236}">
                <a16:creationId xmlns:a16="http://schemas.microsoft.com/office/drawing/2014/main" id="{192C2057-2E7F-22EA-D43B-CF4A98A9ECB4}"/>
              </a:ext>
            </a:extLst>
          </p:cNvPr>
          <p:cNvSpPr>
            <a:spLocks noChangeAspect="1"/>
          </p:cNvSpPr>
          <p:nvPr/>
        </p:nvSpPr>
        <p:spPr>
          <a:xfrm>
            <a:off x="371364" y="1443388"/>
            <a:ext cx="135236" cy="486852"/>
          </a:xfrm>
          <a:custGeom>
            <a:avLst/>
            <a:gdLst>
              <a:gd name="connsiteX0" fmla="*/ 78615 w 495288"/>
              <a:gd name="connsiteY0" fmla="*/ 3367 h 1747049"/>
              <a:gd name="connsiteX1" fmla="*/ 110003 w 495288"/>
              <a:gd name="connsiteY1" fmla="*/ 32127 h 1747049"/>
              <a:gd name="connsiteX2" fmla="*/ 490063 w 495288"/>
              <a:gd name="connsiteY2" fmla="*/ 847166 h 1747049"/>
              <a:gd name="connsiteX3" fmla="*/ 491922 w 495288"/>
              <a:gd name="connsiteY3" fmla="*/ 889700 h 1747049"/>
              <a:gd name="connsiteX4" fmla="*/ 486287 w 495288"/>
              <a:gd name="connsiteY4" fmla="*/ 895847 h 1747049"/>
              <a:gd name="connsiteX5" fmla="*/ 486110 w 495288"/>
              <a:gd name="connsiteY5" fmla="*/ 899882 h 1747049"/>
              <a:gd name="connsiteX6" fmla="*/ 106053 w 495288"/>
              <a:gd name="connsiteY6" fmla="*/ 1714919 h 1747049"/>
              <a:gd name="connsiteX7" fmla="*/ 32129 w 495288"/>
              <a:gd name="connsiteY7" fmla="*/ 1741826 h 1747049"/>
              <a:gd name="connsiteX8" fmla="*/ 3366 w 495288"/>
              <a:gd name="connsiteY8" fmla="*/ 1710433 h 1747049"/>
              <a:gd name="connsiteX9" fmla="*/ 5223 w 495288"/>
              <a:gd name="connsiteY9" fmla="*/ 1667902 h 1747049"/>
              <a:gd name="connsiteX10" fmla="*/ 377625 w 495288"/>
              <a:gd name="connsiteY10" fmla="*/ 869285 h 1747049"/>
              <a:gd name="connsiteX11" fmla="*/ 9176 w 495288"/>
              <a:gd name="connsiteY11" fmla="*/ 79149 h 1747049"/>
              <a:gd name="connsiteX12" fmla="*/ 36082 w 495288"/>
              <a:gd name="connsiteY12" fmla="*/ 5225 h 1747049"/>
              <a:gd name="connsiteX13" fmla="*/ 78615 w 495288"/>
              <a:gd name="connsiteY13" fmla="*/ 3367 h 1747049"/>
              <a:gd name="connsiteX0" fmla="*/ 78615 w 495288"/>
              <a:gd name="connsiteY0" fmla="*/ 3367 h 1747049"/>
              <a:gd name="connsiteX1" fmla="*/ 110003 w 495288"/>
              <a:gd name="connsiteY1" fmla="*/ 32127 h 1747049"/>
              <a:gd name="connsiteX2" fmla="*/ 490063 w 495288"/>
              <a:gd name="connsiteY2" fmla="*/ 847166 h 1747049"/>
              <a:gd name="connsiteX3" fmla="*/ 491922 w 495288"/>
              <a:gd name="connsiteY3" fmla="*/ 889700 h 1747049"/>
              <a:gd name="connsiteX4" fmla="*/ 486287 w 495288"/>
              <a:gd name="connsiteY4" fmla="*/ 895847 h 1747049"/>
              <a:gd name="connsiteX5" fmla="*/ 106053 w 495288"/>
              <a:gd name="connsiteY5" fmla="*/ 1714919 h 1747049"/>
              <a:gd name="connsiteX6" fmla="*/ 32129 w 495288"/>
              <a:gd name="connsiteY6" fmla="*/ 1741826 h 1747049"/>
              <a:gd name="connsiteX7" fmla="*/ 3366 w 495288"/>
              <a:gd name="connsiteY7" fmla="*/ 1710433 h 1747049"/>
              <a:gd name="connsiteX8" fmla="*/ 5223 w 495288"/>
              <a:gd name="connsiteY8" fmla="*/ 1667902 h 1747049"/>
              <a:gd name="connsiteX9" fmla="*/ 377625 w 495288"/>
              <a:gd name="connsiteY9" fmla="*/ 869285 h 1747049"/>
              <a:gd name="connsiteX10" fmla="*/ 9176 w 495288"/>
              <a:gd name="connsiteY10" fmla="*/ 79149 h 1747049"/>
              <a:gd name="connsiteX11" fmla="*/ 36082 w 495288"/>
              <a:gd name="connsiteY11" fmla="*/ 5225 h 1747049"/>
              <a:gd name="connsiteX12" fmla="*/ 78615 w 495288"/>
              <a:gd name="connsiteY12" fmla="*/ 3367 h 1747049"/>
              <a:gd name="connsiteX0" fmla="*/ 78615 w 495288"/>
              <a:gd name="connsiteY0" fmla="*/ 3367 h 1747049"/>
              <a:gd name="connsiteX1" fmla="*/ 110003 w 495288"/>
              <a:gd name="connsiteY1" fmla="*/ 32127 h 1747049"/>
              <a:gd name="connsiteX2" fmla="*/ 490063 w 495288"/>
              <a:gd name="connsiteY2" fmla="*/ 847166 h 1747049"/>
              <a:gd name="connsiteX3" fmla="*/ 491922 w 495288"/>
              <a:gd name="connsiteY3" fmla="*/ 889700 h 1747049"/>
              <a:gd name="connsiteX4" fmla="*/ 106053 w 495288"/>
              <a:gd name="connsiteY4" fmla="*/ 1714919 h 1747049"/>
              <a:gd name="connsiteX5" fmla="*/ 32129 w 495288"/>
              <a:gd name="connsiteY5" fmla="*/ 1741826 h 1747049"/>
              <a:gd name="connsiteX6" fmla="*/ 3366 w 495288"/>
              <a:gd name="connsiteY6" fmla="*/ 1710433 h 1747049"/>
              <a:gd name="connsiteX7" fmla="*/ 5223 w 495288"/>
              <a:gd name="connsiteY7" fmla="*/ 1667902 h 1747049"/>
              <a:gd name="connsiteX8" fmla="*/ 377625 w 495288"/>
              <a:gd name="connsiteY8" fmla="*/ 869285 h 1747049"/>
              <a:gd name="connsiteX9" fmla="*/ 9176 w 495288"/>
              <a:gd name="connsiteY9" fmla="*/ 79149 h 1747049"/>
              <a:gd name="connsiteX10" fmla="*/ 36082 w 495288"/>
              <a:gd name="connsiteY10" fmla="*/ 5225 h 1747049"/>
              <a:gd name="connsiteX11" fmla="*/ 78615 w 495288"/>
              <a:gd name="connsiteY11" fmla="*/ 3367 h 174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5288" h="1747049">
                <a:moveTo>
                  <a:pt x="78615" y="3367"/>
                </a:moveTo>
                <a:cubicBezTo>
                  <a:pt x="91993" y="8236"/>
                  <a:pt x="103512" y="18207"/>
                  <a:pt x="110003" y="32127"/>
                </a:cubicBezTo>
                <a:lnTo>
                  <a:pt x="490063" y="847166"/>
                </a:lnTo>
                <a:cubicBezTo>
                  <a:pt x="496555" y="861085"/>
                  <a:pt x="496790" y="876323"/>
                  <a:pt x="491922" y="889700"/>
                </a:cubicBezTo>
                <a:lnTo>
                  <a:pt x="106053" y="1714919"/>
                </a:lnTo>
                <a:cubicBezTo>
                  <a:pt x="93068" y="1742760"/>
                  <a:pt x="59971" y="1754808"/>
                  <a:pt x="32129" y="1741826"/>
                </a:cubicBezTo>
                <a:cubicBezTo>
                  <a:pt x="18210" y="1735333"/>
                  <a:pt x="8236" y="1723814"/>
                  <a:pt x="3366" y="1710433"/>
                </a:cubicBezTo>
                <a:cubicBezTo>
                  <a:pt x="-1502" y="1697057"/>
                  <a:pt x="-1267" y="1681821"/>
                  <a:pt x="5223" y="1667902"/>
                </a:cubicBezTo>
                <a:lnTo>
                  <a:pt x="377625" y="869285"/>
                </a:lnTo>
                <a:lnTo>
                  <a:pt x="9176" y="79149"/>
                </a:lnTo>
                <a:cubicBezTo>
                  <a:pt x="-3809" y="51305"/>
                  <a:pt x="8241" y="18207"/>
                  <a:pt x="36082" y="5225"/>
                </a:cubicBezTo>
                <a:cubicBezTo>
                  <a:pt x="50003" y="-1267"/>
                  <a:pt x="65238" y="-1502"/>
                  <a:pt x="78615" y="3367"/>
                </a:cubicBezTo>
                <a:close/>
              </a:path>
            </a:pathLst>
          </a:custGeom>
          <a:solidFill>
            <a:srgbClr val="EC0016"/>
          </a:solidFill>
          <a:ln w="6350" cap="rnd" cmpd="sng">
            <a:noFill/>
            <a:prstDash val="solid"/>
            <a:round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6350" cap="rnd" cmpd="sng">
                <a:solidFill>
                  <a:srgbClr val="000000"/>
                </a:solidFill>
                <a:prstDash val="solid"/>
                <a:round/>
                <a:headEnd type="none" w="lg" len="lg"/>
                <a:tailEnd type="none" w="lg" len="lg"/>
              </a14:hiddenLine>
            </a:ext>
          </a:extLst>
        </p:spPr>
        <p:txBody>
          <a:bodyPr wrap="none" tIns="91440" bIns="91440" anchor="ctr"/>
          <a:lstStyle/>
          <a:p>
            <a:pPr>
              <a:lnSpc>
                <a:spcPct val="95000"/>
              </a:lnSpc>
            </a:pPr>
            <a:endParaRPr lang="de-DE" b="1" dirty="0" err="1">
              <a:ln>
                <a:solidFill>
                  <a:schemeClr val="tx1"/>
                </a:solidFill>
                <a:prstDash val="dash"/>
              </a:ln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857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A4FC931-9195-2F4C-8C93-31C9CE438C47}"/>
              </a:ext>
            </a:extLst>
          </p:cNvPr>
          <p:cNvGrpSpPr/>
          <p:nvPr/>
        </p:nvGrpSpPr>
        <p:grpSpPr>
          <a:xfrm rot="5400000">
            <a:off x="4251638" y="3157998"/>
            <a:ext cx="3120081" cy="1385536"/>
            <a:chOff x="11668146" y="4526523"/>
            <a:chExt cx="10925456" cy="656257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5E37C28-3B93-D346-AC1F-71E26DD2F872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E2BB8EA-9F1B-5243-A523-CC3821EC564B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0E49B5-F0D1-974C-A893-2E2666938554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2F87AFE-C159-624B-8CCE-4F0DE3C36AF4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CuadroTexto 395">
            <a:extLst>
              <a:ext uri="{FF2B5EF4-FFF2-40B4-BE49-F238E27FC236}">
                <a16:creationId xmlns:a16="http://schemas.microsoft.com/office/drawing/2014/main" id="{0F5A3FAA-54A8-944B-A3EC-E377371A24F7}"/>
              </a:ext>
            </a:extLst>
          </p:cNvPr>
          <p:cNvSpPr txBox="1"/>
          <p:nvPr/>
        </p:nvSpPr>
        <p:spPr>
          <a:xfrm>
            <a:off x="1789793" y="1740021"/>
            <a:ext cx="1136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100" name="CuadroTexto 395">
            <a:extLst>
              <a:ext uri="{FF2B5EF4-FFF2-40B4-BE49-F238E27FC236}">
                <a16:creationId xmlns:a16="http://schemas.microsoft.com/office/drawing/2014/main" id="{0FE61C62-B3C4-5B41-A642-5B0209293205}"/>
              </a:ext>
            </a:extLst>
          </p:cNvPr>
          <p:cNvSpPr txBox="1"/>
          <p:nvPr/>
        </p:nvSpPr>
        <p:spPr>
          <a:xfrm>
            <a:off x="1789793" y="2761817"/>
            <a:ext cx="1580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Alignment </a:t>
            </a:r>
          </a:p>
          <a:p>
            <a:r>
              <a:rPr lang="en-AU" sz="1000" b="1" dirty="0">
                <a:solidFill>
                  <a:srgbClr val="000000"/>
                </a:solidFill>
              </a:rPr>
              <a:t>&amp; Decision -Making</a:t>
            </a:r>
          </a:p>
        </p:txBody>
      </p:sp>
      <p:sp>
        <p:nvSpPr>
          <p:cNvPr id="101" name="CuadroTexto 395">
            <a:extLst>
              <a:ext uri="{FF2B5EF4-FFF2-40B4-BE49-F238E27FC236}">
                <a16:creationId xmlns:a16="http://schemas.microsoft.com/office/drawing/2014/main" id="{639F9E13-7BE4-0F43-9158-35CAD1691553}"/>
              </a:ext>
            </a:extLst>
          </p:cNvPr>
          <p:cNvSpPr txBox="1"/>
          <p:nvPr/>
        </p:nvSpPr>
        <p:spPr>
          <a:xfrm>
            <a:off x="1789793" y="3794711"/>
            <a:ext cx="1580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02" name="CuadroTexto 395">
            <a:extLst>
              <a:ext uri="{FF2B5EF4-FFF2-40B4-BE49-F238E27FC236}">
                <a16:creationId xmlns:a16="http://schemas.microsoft.com/office/drawing/2014/main" id="{49BA3BEF-D4A7-104B-A8B9-04CC554665ED}"/>
              </a:ext>
            </a:extLst>
          </p:cNvPr>
          <p:cNvSpPr txBox="1"/>
          <p:nvPr/>
        </p:nvSpPr>
        <p:spPr>
          <a:xfrm>
            <a:off x="1789793" y="4754493"/>
            <a:ext cx="15808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3" name="Rectangle 56">
            <a:extLst>
              <a:ext uri="{FF2B5EF4-FFF2-40B4-BE49-F238E27FC236}">
                <a16:creationId xmlns:a16="http://schemas.microsoft.com/office/drawing/2014/main" id="{CA385A66-0276-D448-AA55-2B9E00E93A82}"/>
              </a:ext>
            </a:extLst>
          </p:cNvPr>
          <p:cNvSpPr/>
          <p:nvPr/>
        </p:nvSpPr>
        <p:spPr>
          <a:xfrm>
            <a:off x="4962919" y="404664"/>
            <a:ext cx="1697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llaboration</a:t>
            </a:r>
          </a:p>
        </p:txBody>
      </p:sp>
      <p:sp>
        <p:nvSpPr>
          <p:cNvPr id="104" name="Rectangle 56">
            <a:extLst>
              <a:ext uri="{FF2B5EF4-FFF2-40B4-BE49-F238E27FC236}">
                <a16:creationId xmlns:a16="http://schemas.microsoft.com/office/drawing/2014/main" id="{E40BDC3E-3E85-2D4F-BA30-CF34CEA32D46}"/>
              </a:ext>
            </a:extLst>
          </p:cNvPr>
          <p:cNvSpPr/>
          <p:nvPr/>
        </p:nvSpPr>
        <p:spPr>
          <a:xfrm>
            <a:off x="6531727" y="404664"/>
            <a:ext cx="1697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lia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4E94925-484D-333B-ADBF-BFE05E2F8704}"/>
              </a:ext>
            </a:extLst>
          </p:cNvPr>
          <p:cNvGrpSpPr/>
          <p:nvPr/>
        </p:nvGrpSpPr>
        <p:grpSpPr>
          <a:xfrm rot="5400000">
            <a:off x="4251638" y="2127971"/>
            <a:ext cx="3120081" cy="1385536"/>
            <a:chOff x="11668146" y="4526523"/>
            <a:chExt cx="10925456" cy="6562575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00889E7-465B-8CCC-4584-663B17B5F9B3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35610060-80A7-5260-2393-BACC5A569F90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FAC4B9B-08D9-B64A-3840-4C398B3C02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89CC83D-6233-1D50-A947-F8776D7C6975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82458F-92D6-C1F7-9F05-DAC4C626A87B}"/>
              </a:ext>
            </a:extLst>
          </p:cNvPr>
          <p:cNvGrpSpPr/>
          <p:nvPr/>
        </p:nvGrpSpPr>
        <p:grpSpPr>
          <a:xfrm rot="5400000">
            <a:off x="5808470" y="3157998"/>
            <a:ext cx="3120081" cy="1385536"/>
            <a:chOff x="11668146" y="4526523"/>
            <a:chExt cx="10925456" cy="656257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310B205-E8D5-8505-5E8C-CE4D1F82D0E6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493EA5C-ABFA-EB5F-22D1-06C9CE0764AD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374A598-F439-ECBA-E3E8-9097FFE57259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044D480-CBE6-597F-2A8E-65E241931CE8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DAD7179-D6B4-BEC8-C5FB-78BF953B9964}"/>
              </a:ext>
            </a:extLst>
          </p:cNvPr>
          <p:cNvGrpSpPr/>
          <p:nvPr/>
        </p:nvGrpSpPr>
        <p:grpSpPr>
          <a:xfrm rot="5400000">
            <a:off x="5808470" y="2127971"/>
            <a:ext cx="3120081" cy="1385536"/>
            <a:chOff x="11668146" y="4526523"/>
            <a:chExt cx="10925456" cy="656257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BE00212-E01C-080F-F83E-F0224BCEE179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22F508-0364-17BE-01BF-CFF0F3CD413A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41FE17C-7B72-E65B-9784-10EC06B64A60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B028CBC-119B-BE29-40CA-AA01BD1F4C23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149951C7-A780-9658-5FA3-80C2A337106A}"/>
              </a:ext>
            </a:extLst>
          </p:cNvPr>
          <p:cNvSpPr/>
          <p:nvPr/>
        </p:nvSpPr>
        <p:spPr>
          <a:xfrm>
            <a:off x="5118911" y="1532841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1" name="Rectangle: Diagonal Corners Snipped 20">
            <a:extLst>
              <a:ext uri="{FF2B5EF4-FFF2-40B4-BE49-F238E27FC236}">
                <a16:creationId xmlns:a16="http://schemas.microsoft.com/office/drawing/2014/main" id="{57D623CE-D350-66D9-C6A2-225A05FBC8FD}"/>
              </a:ext>
            </a:extLst>
          </p:cNvPr>
          <p:cNvSpPr/>
          <p:nvPr/>
        </p:nvSpPr>
        <p:spPr>
          <a:xfrm>
            <a:off x="5169595" y="4655525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260FCCF4-13B4-0470-2897-A9D64D47E81A}"/>
              </a:ext>
            </a:extLst>
          </p:cNvPr>
          <p:cNvSpPr/>
          <p:nvPr/>
        </p:nvSpPr>
        <p:spPr>
          <a:xfrm>
            <a:off x="5169595" y="2565241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id="{5511C04B-AD91-F7CD-416D-0AADD900667B}"/>
              </a:ext>
            </a:extLst>
          </p:cNvPr>
          <p:cNvSpPr/>
          <p:nvPr/>
        </p:nvSpPr>
        <p:spPr>
          <a:xfrm>
            <a:off x="5169595" y="3606293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717F0887-6FA6-EA88-5DF5-2CAA072953ED}"/>
              </a:ext>
            </a:extLst>
          </p:cNvPr>
          <p:cNvSpPr/>
          <p:nvPr/>
        </p:nvSpPr>
        <p:spPr>
          <a:xfrm>
            <a:off x="7060819" y="4725144"/>
            <a:ext cx="642084" cy="353341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id="{34239891-B83B-3341-0803-BD2B368D154B}"/>
              </a:ext>
            </a:extLst>
          </p:cNvPr>
          <p:cNvSpPr/>
          <p:nvPr/>
        </p:nvSpPr>
        <p:spPr>
          <a:xfrm>
            <a:off x="6726427" y="3570345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1FD63CFA-6C40-C940-71ED-FD6F32E8DA2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575882" y="179607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056C2371-E520-D1EF-2090-8BA1E66E4B4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575882" y="2817872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id="{C6672EC0-FE2E-AE08-6F02-B385E4606B0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578874" y="385076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37" name="Rectangle 22">
            <a:extLst>
              <a:ext uri="{FF2B5EF4-FFF2-40B4-BE49-F238E27FC236}">
                <a16:creationId xmlns:a16="http://schemas.microsoft.com/office/drawing/2014/main" id="{A146CA5B-FD37-6066-6FDE-70B958E0D8B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579606" y="473360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38" name="Rectangle: Diagonal Corners Snipped 37">
            <a:extLst>
              <a:ext uri="{FF2B5EF4-FFF2-40B4-BE49-F238E27FC236}">
                <a16:creationId xmlns:a16="http://schemas.microsoft.com/office/drawing/2014/main" id="{8EA3BDED-72B0-45FA-3818-1C7C02F99848}"/>
              </a:ext>
            </a:extLst>
          </p:cNvPr>
          <p:cNvSpPr/>
          <p:nvPr/>
        </p:nvSpPr>
        <p:spPr>
          <a:xfrm>
            <a:off x="6726427" y="2564436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6FC16B1-7EEB-CFDE-5B1C-38BCA020ECC0}"/>
              </a:ext>
            </a:extLst>
          </p:cNvPr>
          <p:cNvGrpSpPr/>
          <p:nvPr/>
        </p:nvGrpSpPr>
        <p:grpSpPr>
          <a:xfrm rot="5400000">
            <a:off x="2648415" y="3157998"/>
            <a:ext cx="3120081" cy="1385536"/>
            <a:chOff x="11668146" y="4526523"/>
            <a:chExt cx="10925456" cy="6562575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64CBE4E-0D7A-274C-439F-D4CB7C7FB6BC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592B4B5D-E3DE-922C-5719-F20896A3D6AC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C8A0FBE1-EF2F-655F-F7E4-861A3CF55912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D7F37676-D8BA-80B8-722D-FA84B538773F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ectangle 56">
            <a:extLst>
              <a:ext uri="{FF2B5EF4-FFF2-40B4-BE49-F238E27FC236}">
                <a16:creationId xmlns:a16="http://schemas.microsoft.com/office/drawing/2014/main" id="{1A96FE5D-3D19-C38A-CD27-9C3E62663F85}"/>
              </a:ext>
            </a:extLst>
          </p:cNvPr>
          <p:cNvSpPr/>
          <p:nvPr/>
        </p:nvSpPr>
        <p:spPr>
          <a:xfrm>
            <a:off x="3359696" y="404664"/>
            <a:ext cx="1697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a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0211433-B56D-7D79-7F3C-497351108D05}"/>
              </a:ext>
            </a:extLst>
          </p:cNvPr>
          <p:cNvGrpSpPr/>
          <p:nvPr/>
        </p:nvGrpSpPr>
        <p:grpSpPr>
          <a:xfrm rot="5400000">
            <a:off x="2648415" y="2127971"/>
            <a:ext cx="3120081" cy="1385536"/>
            <a:chOff x="11668146" y="4526523"/>
            <a:chExt cx="10925456" cy="6562575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A0D9045-DD76-DF28-8075-9D6BAC8848A5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89180C5-60D9-9376-1B68-F8C4CB52D92F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A612EB3-D362-9E00-0AAE-51DA1987AA69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1D2A552-3F20-7171-BC30-FDD18588FC2C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: Diagonal Corners Snipped 53">
            <a:extLst>
              <a:ext uri="{FF2B5EF4-FFF2-40B4-BE49-F238E27FC236}">
                <a16:creationId xmlns:a16="http://schemas.microsoft.com/office/drawing/2014/main" id="{E8729BEA-3EB3-A068-DE88-C1839F14FBCC}"/>
              </a:ext>
            </a:extLst>
          </p:cNvPr>
          <p:cNvSpPr/>
          <p:nvPr/>
        </p:nvSpPr>
        <p:spPr>
          <a:xfrm>
            <a:off x="3566372" y="3606293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5" name="Rectangle: Diagonal Corners Snipped 54">
            <a:extLst>
              <a:ext uri="{FF2B5EF4-FFF2-40B4-BE49-F238E27FC236}">
                <a16:creationId xmlns:a16="http://schemas.microsoft.com/office/drawing/2014/main" id="{E4AC95C6-DAD9-F62F-90C0-6C3ECE8A30BE}"/>
              </a:ext>
            </a:extLst>
          </p:cNvPr>
          <p:cNvSpPr/>
          <p:nvPr/>
        </p:nvSpPr>
        <p:spPr>
          <a:xfrm>
            <a:off x="3566372" y="4642947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4C48ECA0-FB7A-D083-5892-AE89415864CB}"/>
              </a:ext>
            </a:extLst>
          </p:cNvPr>
          <p:cNvSpPr/>
          <p:nvPr/>
        </p:nvSpPr>
        <p:spPr>
          <a:xfrm>
            <a:off x="3562080" y="2559008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7" name="Rectangle: Diagonal Corners Snipped 56">
            <a:extLst>
              <a:ext uri="{FF2B5EF4-FFF2-40B4-BE49-F238E27FC236}">
                <a16:creationId xmlns:a16="http://schemas.microsoft.com/office/drawing/2014/main" id="{C5E00675-1EC4-8C7A-B1E7-0E301CFBC16A}"/>
              </a:ext>
            </a:extLst>
          </p:cNvPr>
          <p:cNvSpPr/>
          <p:nvPr/>
        </p:nvSpPr>
        <p:spPr>
          <a:xfrm>
            <a:off x="3562080" y="1541530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9" name="Rectangle: Diagonal Corners Snipped 58">
            <a:extLst>
              <a:ext uri="{FF2B5EF4-FFF2-40B4-BE49-F238E27FC236}">
                <a16:creationId xmlns:a16="http://schemas.microsoft.com/office/drawing/2014/main" id="{5D8E3120-4C97-7294-A171-FFECE578B82C}"/>
              </a:ext>
            </a:extLst>
          </p:cNvPr>
          <p:cNvSpPr/>
          <p:nvPr/>
        </p:nvSpPr>
        <p:spPr>
          <a:xfrm>
            <a:off x="3296587" y="5815386"/>
            <a:ext cx="573503" cy="45719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0" name="CuadroTexto 395">
            <a:extLst>
              <a:ext uri="{FF2B5EF4-FFF2-40B4-BE49-F238E27FC236}">
                <a16:creationId xmlns:a16="http://schemas.microsoft.com/office/drawing/2014/main" id="{99424110-D64B-20EF-F6DB-8086E81DC2E5}"/>
              </a:ext>
            </a:extLst>
          </p:cNvPr>
          <p:cNvSpPr txBox="1"/>
          <p:nvPr/>
        </p:nvSpPr>
        <p:spPr>
          <a:xfrm>
            <a:off x="3926118" y="5692275"/>
            <a:ext cx="2608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Responsible</a:t>
            </a:r>
          </a:p>
        </p:txBody>
      </p:sp>
      <p:sp>
        <p:nvSpPr>
          <p:cNvPr id="61" name="Rectangle: Diagonal Corners Snipped 60">
            <a:extLst>
              <a:ext uri="{FF2B5EF4-FFF2-40B4-BE49-F238E27FC236}">
                <a16:creationId xmlns:a16="http://schemas.microsoft.com/office/drawing/2014/main" id="{3BA46EB2-6FC5-5D6C-5353-C89E972A2A18}"/>
              </a:ext>
            </a:extLst>
          </p:cNvPr>
          <p:cNvSpPr/>
          <p:nvPr/>
        </p:nvSpPr>
        <p:spPr>
          <a:xfrm>
            <a:off x="3306230" y="6067456"/>
            <a:ext cx="573503" cy="45719"/>
          </a:xfrm>
          <a:prstGeom prst="snip2DiagRect">
            <a:avLst>
              <a:gd name="adj1" fmla="val 10384"/>
              <a:gd name="adj2" fmla="val 1186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CF9C1F7B-E4FD-76DD-7211-4D6C5BADDB13}"/>
              </a:ext>
            </a:extLst>
          </p:cNvPr>
          <p:cNvSpPr txBox="1"/>
          <p:nvPr/>
        </p:nvSpPr>
        <p:spPr>
          <a:xfrm>
            <a:off x="3935760" y="5944345"/>
            <a:ext cx="39667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Not responsible, but some aspect of the module are useful</a:t>
            </a:r>
          </a:p>
        </p:txBody>
      </p:sp>
      <p:sp>
        <p:nvSpPr>
          <p:cNvPr id="64" name="Rectangle: Diagonal Corners Snipped 63">
            <a:extLst>
              <a:ext uri="{FF2B5EF4-FFF2-40B4-BE49-F238E27FC236}">
                <a16:creationId xmlns:a16="http://schemas.microsoft.com/office/drawing/2014/main" id="{F0F6FABD-433F-4F82-E2AB-09D60907902F}"/>
              </a:ext>
            </a:extLst>
          </p:cNvPr>
          <p:cNvSpPr/>
          <p:nvPr/>
        </p:nvSpPr>
        <p:spPr>
          <a:xfrm>
            <a:off x="3359696" y="6319525"/>
            <a:ext cx="383673" cy="120627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7" name="CuadroTexto 395">
            <a:extLst>
              <a:ext uri="{FF2B5EF4-FFF2-40B4-BE49-F238E27FC236}">
                <a16:creationId xmlns:a16="http://schemas.microsoft.com/office/drawing/2014/main" id="{EAD41F55-A80A-E24A-0DCF-F5410E806A08}"/>
              </a:ext>
            </a:extLst>
          </p:cNvPr>
          <p:cNvSpPr txBox="1"/>
          <p:nvPr/>
        </p:nvSpPr>
        <p:spPr>
          <a:xfrm>
            <a:off x="3930888" y="6258875"/>
            <a:ext cx="39667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Degree of responsibility/ usefulness</a:t>
            </a:r>
          </a:p>
        </p:txBody>
      </p:sp>
      <p:sp>
        <p:nvSpPr>
          <p:cNvPr id="71" name="Rectangle: Diagonal Corners Snipped 70">
            <a:extLst>
              <a:ext uri="{FF2B5EF4-FFF2-40B4-BE49-F238E27FC236}">
                <a16:creationId xmlns:a16="http://schemas.microsoft.com/office/drawing/2014/main" id="{C9593E48-0A16-A432-3066-DC2BE6D68D04}"/>
              </a:ext>
            </a:extLst>
          </p:cNvPr>
          <p:cNvSpPr/>
          <p:nvPr/>
        </p:nvSpPr>
        <p:spPr>
          <a:xfrm>
            <a:off x="7024712" y="1619889"/>
            <a:ext cx="642084" cy="353341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2" name="Rectangle: Diagonal Corners Snipped 71">
            <a:extLst>
              <a:ext uri="{FF2B5EF4-FFF2-40B4-BE49-F238E27FC236}">
                <a16:creationId xmlns:a16="http://schemas.microsoft.com/office/drawing/2014/main" id="{C296B01E-99D1-973C-7C76-78370EA3FC50}"/>
              </a:ext>
            </a:extLst>
          </p:cNvPr>
          <p:cNvSpPr/>
          <p:nvPr/>
        </p:nvSpPr>
        <p:spPr>
          <a:xfrm>
            <a:off x="3522832" y="6319524"/>
            <a:ext cx="347690" cy="120627"/>
          </a:xfrm>
          <a:prstGeom prst="snip2DiagRect">
            <a:avLst>
              <a:gd name="adj1" fmla="val 50000"/>
              <a:gd name="adj2" fmla="val 50000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3" name="Rectangle: Diagonal Corners Snipped 72">
            <a:extLst>
              <a:ext uri="{FF2B5EF4-FFF2-40B4-BE49-F238E27FC236}">
                <a16:creationId xmlns:a16="http://schemas.microsoft.com/office/drawing/2014/main" id="{28E7558D-94EC-4A46-BD75-51E5CF1653DC}"/>
              </a:ext>
            </a:extLst>
          </p:cNvPr>
          <p:cNvSpPr/>
          <p:nvPr/>
        </p:nvSpPr>
        <p:spPr>
          <a:xfrm>
            <a:off x="3522833" y="6319524"/>
            <a:ext cx="124895" cy="12062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5542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7">
            <a:extLst>
              <a:ext uri="{FF2B5EF4-FFF2-40B4-BE49-F238E27FC236}">
                <a16:creationId xmlns:a16="http://schemas.microsoft.com/office/drawing/2014/main" id="{B0A9DA14-2FAF-EF48-A2F9-28ABB15DFE91}"/>
              </a:ext>
            </a:extLst>
          </p:cNvPr>
          <p:cNvSpPr/>
          <p:nvPr/>
        </p:nvSpPr>
        <p:spPr>
          <a:xfrm>
            <a:off x="4110127" y="2330668"/>
            <a:ext cx="1757998" cy="2731015"/>
          </a:xfrm>
          <a:custGeom>
            <a:avLst/>
            <a:gdLst>
              <a:gd name="connsiteX0" fmla="*/ 0 w 3493008"/>
              <a:gd name="connsiteY0" fmla="*/ 0 h 5687568"/>
              <a:gd name="connsiteX1" fmla="*/ 3493008 w 3493008"/>
              <a:gd name="connsiteY1" fmla="*/ 0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  <a:gd name="connsiteX0" fmla="*/ 0 w 3529584"/>
              <a:gd name="connsiteY0" fmla="*/ 0 h 5687568"/>
              <a:gd name="connsiteX1" fmla="*/ 3529584 w 3529584"/>
              <a:gd name="connsiteY1" fmla="*/ 2505456 h 5687568"/>
              <a:gd name="connsiteX2" fmla="*/ 3493008 w 3529584"/>
              <a:gd name="connsiteY2" fmla="*/ 5687568 h 5687568"/>
              <a:gd name="connsiteX3" fmla="*/ 0 w 3529584"/>
              <a:gd name="connsiteY3" fmla="*/ 5687568 h 5687568"/>
              <a:gd name="connsiteX4" fmla="*/ 0 w 3529584"/>
              <a:gd name="connsiteY4" fmla="*/ 0 h 5687568"/>
              <a:gd name="connsiteX0" fmla="*/ 0 w 3493008"/>
              <a:gd name="connsiteY0" fmla="*/ 0 h 5687568"/>
              <a:gd name="connsiteX1" fmla="*/ 3493008 w 3493008"/>
              <a:gd name="connsiteY1" fmla="*/ 1389888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5687568">
                <a:moveTo>
                  <a:pt x="0" y="0"/>
                </a:moveTo>
                <a:lnTo>
                  <a:pt x="3493008" y="1389888"/>
                </a:lnTo>
                <a:lnTo>
                  <a:pt x="3493008" y="5687568"/>
                </a:lnTo>
                <a:lnTo>
                  <a:pt x="0" y="56875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8" name="Rectangle 19">
            <a:extLst>
              <a:ext uri="{FF2B5EF4-FFF2-40B4-BE49-F238E27FC236}">
                <a16:creationId xmlns:a16="http://schemas.microsoft.com/office/drawing/2014/main" id="{33BF7B34-311F-FD4D-8A2D-C0D969BE700E}"/>
              </a:ext>
            </a:extLst>
          </p:cNvPr>
          <p:cNvSpPr/>
          <p:nvPr/>
        </p:nvSpPr>
        <p:spPr>
          <a:xfrm>
            <a:off x="5941758" y="3023301"/>
            <a:ext cx="1757998" cy="2038383"/>
          </a:xfrm>
          <a:custGeom>
            <a:avLst/>
            <a:gdLst>
              <a:gd name="connsiteX0" fmla="*/ 0 w 3493008"/>
              <a:gd name="connsiteY0" fmla="*/ 0 h 4245102"/>
              <a:gd name="connsiteX1" fmla="*/ 3493008 w 3493008"/>
              <a:gd name="connsiteY1" fmla="*/ 0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93008 w 3493008"/>
              <a:gd name="connsiteY1" fmla="*/ 1814512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78720 w 3493008"/>
              <a:gd name="connsiteY1" fmla="*/ 1385887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4245102">
                <a:moveTo>
                  <a:pt x="0" y="0"/>
                </a:moveTo>
                <a:lnTo>
                  <a:pt x="3478720" y="1385887"/>
                </a:lnTo>
                <a:cubicBezTo>
                  <a:pt x="3483483" y="2338959"/>
                  <a:pt x="3488245" y="3292030"/>
                  <a:pt x="3493008" y="4245102"/>
                </a:cubicBezTo>
                <a:lnTo>
                  <a:pt x="0" y="42451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83C83EC3-5808-6040-A565-CF8AB1BC3443}"/>
              </a:ext>
            </a:extLst>
          </p:cNvPr>
          <p:cNvSpPr/>
          <p:nvPr/>
        </p:nvSpPr>
        <p:spPr>
          <a:xfrm>
            <a:off x="7764057" y="3716545"/>
            <a:ext cx="1757998" cy="1345138"/>
          </a:xfrm>
          <a:custGeom>
            <a:avLst/>
            <a:gdLst>
              <a:gd name="connsiteX0" fmla="*/ 0 w 3493008"/>
              <a:gd name="connsiteY0" fmla="*/ 0 h 2844927"/>
              <a:gd name="connsiteX1" fmla="*/ 3493008 w 3493008"/>
              <a:gd name="connsiteY1" fmla="*/ 0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229193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558977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409075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87521 w 3493008"/>
              <a:gd name="connsiteY1" fmla="*/ 1425658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2844927">
                <a:moveTo>
                  <a:pt x="0" y="0"/>
                </a:moveTo>
                <a:lnTo>
                  <a:pt x="3487521" y="1425658"/>
                </a:lnTo>
                <a:lnTo>
                  <a:pt x="3493008" y="2844927"/>
                </a:lnTo>
                <a:lnTo>
                  <a:pt x="0" y="28449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6" name="Rectangle 21">
            <a:extLst>
              <a:ext uri="{FF2B5EF4-FFF2-40B4-BE49-F238E27FC236}">
                <a16:creationId xmlns:a16="http://schemas.microsoft.com/office/drawing/2014/main" id="{6A652803-EB20-7940-9F86-DD97688729B3}"/>
              </a:ext>
            </a:extLst>
          </p:cNvPr>
          <p:cNvSpPr/>
          <p:nvPr/>
        </p:nvSpPr>
        <p:spPr>
          <a:xfrm>
            <a:off x="9586356" y="4414995"/>
            <a:ext cx="1757998" cy="646688"/>
          </a:xfrm>
          <a:custGeom>
            <a:avLst/>
            <a:gdLst>
              <a:gd name="connsiteX0" fmla="*/ 0 w 3493008"/>
              <a:gd name="connsiteY0" fmla="*/ 0 h 1377296"/>
              <a:gd name="connsiteX1" fmla="*/ 3493008 w 3493008"/>
              <a:gd name="connsiteY1" fmla="*/ 0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  <a:gd name="connsiteX0" fmla="*/ 0 w 3493008"/>
              <a:gd name="connsiteY0" fmla="*/ 0 h 2008682"/>
              <a:gd name="connsiteX1" fmla="*/ 3493008 w 3493008"/>
              <a:gd name="connsiteY1" fmla="*/ 2008682 h 2008682"/>
              <a:gd name="connsiteX2" fmla="*/ 3493008 w 3493008"/>
              <a:gd name="connsiteY2" fmla="*/ 1377296 h 2008682"/>
              <a:gd name="connsiteX3" fmla="*/ 0 w 3493008"/>
              <a:gd name="connsiteY3" fmla="*/ 1377296 h 2008682"/>
              <a:gd name="connsiteX4" fmla="*/ 0 w 3493008"/>
              <a:gd name="connsiteY4" fmla="*/ 0 h 2008682"/>
              <a:gd name="connsiteX0" fmla="*/ 0 w 3493008"/>
              <a:gd name="connsiteY0" fmla="*/ 0 h 1377296"/>
              <a:gd name="connsiteX1" fmla="*/ 3493008 w 3493008"/>
              <a:gd name="connsiteY1" fmla="*/ 1364105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1377296">
                <a:moveTo>
                  <a:pt x="0" y="0"/>
                </a:moveTo>
                <a:lnTo>
                  <a:pt x="3493008" y="1364105"/>
                </a:lnTo>
                <a:lnTo>
                  <a:pt x="3493008" y="1377296"/>
                </a:lnTo>
                <a:lnTo>
                  <a:pt x="0" y="13772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4FC931-9195-2F4C-8C93-31C9CE438C47}"/>
              </a:ext>
            </a:extLst>
          </p:cNvPr>
          <p:cNvGrpSpPr/>
          <p:nvPr/>
        </p:nvGrpSpPr>
        <p:grpSpPr>
          <a:xfrm>
            <a:off x="5862727" y="2330668"/>
            <a:ext cx="5462728" cy="3049224"/>
            <a:chOff x="11668146" y="4526523"/>
            <a:chExt cx="10925456" cy="656257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5E37C28-3B93-D346-AC1F-71E26DD2F872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E2BB8EA-9F1B-5243-A523-CC3821EC564B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0E49B5-F0D1-974C-A893-2E2666938554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2F87AFE-C159-624B-8CCE-4F0DE3C36AF4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ight Arrow 6">
            <a:extLst>
              <a:ext uri="{FF2B5EF4-FFF2-40B4-BE49-F238E27FC236}">
                <a16:creationId xmlns:a16="http://schemas.microsoft.com/office/drawing/2014/main" id="{34BF0EA6-F3F3-DF4C-A862-A9A969271EBA}"/>
              </a:ext>
            </a:extLst>
          </p:cNvPr>
          <p:cNvSpPr/>
          <p:nvPr/>
        </p:nvSpPr>
        <p:spPr>
          <a:xfrm>
            <a:off x="2967796" y="2644049"/>
            <a:ext cx="816429" cy="534963"/>
          </a:xfrm>
          <a:prstGeom prst="rightArrow">
            <a:avLst>
              <a:gd name="adj1" fmla="val 65000"/>
              <a:gd name="adj2" fmla="val 50000"/>
            </a:avLst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97" name="Right Arrow 96">
            <a:extLst>
              <a:ext uri="{FF2B5EF4-FFF2-40B4-BE49-F238E27FC236}">
                <a16:creationId xmlns:a16="http://schemas.microsoft.com/office/drawing/2014/main" id="{2D910D39-E479-EA46-9B90-B39407926F1B}"/>
              </a:ext>
            </a:extLst>
          </p:cNvPr>
          <p:cNvSpPr/>
          <p:nvPr/>
        </p:nvSpPr>
        <p:spPr>
          <a:xfrm>
            <a:off x="2967796" y="3449064"/>
            <a:ext cx="816429" cy="534963"/>
          </a:xfrm>
          <a:prstGeom prst="rightArrow">
            <a:avLst>
              <a:gd name="adj1" fmla="val 65000"/>
              <a:gd name="adj2" fmla="val 50000"/>
            </a:avLst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8" name="Right Arrow 97">
            <a:extLst>
              <a:ext uri="{FF2B5EF4-FFF2-40B4-BE49-F238E27FC236}">
                <a16:creationId xmlns:a16="http://schemas.microsoft.com/office/drawing/2014/main" id="{3E62F83A-E4D3-3942-AEA2-7BA0A2B4290A}"/>
              </a:ext>
            </a:extLst>
          </p:cNvPr>
          <p:cNvSpPr/>
          <p:nvPr/>
        </p:nvSpPr>
        <p:spPr>
          <a:xfrm>
            <a:off x="2967796" y="4254079"/>
            <a:ext cx="816429" cy="534963"/>
          </a:xfrm>
          <a:prstGeom prst="rightArrow">
            <a:avLst>
              <a:gd name="adj1" fmla="val 65000"/>
              <a:gd name="adj2" fmla="val 50000"/>
            </a:avLst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9" name="CuadroTexto 395">
            <a:extLst>
              <a:ext uri="{FF2B5EF4-FFF2-40B4-BE49-F238E27FC236}">
                <a16:creationId xmlns:a16="http://schemas.microsoft.com/office/drawing/2014/main" id="{0F5A3FAA-54A8-944B-A3EC-E377371A24F7}"/>
              </a:ext>
            </a:extLst>
          </p:cNvPr>
          <p:cNvSpPr txBox="1"/>
          <p:nvPr/>
        </p:nvSpPr>
        <p:spPr>
          <a:xfrm>
            <a:off x="4170604" y="2056007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100" name="CuadroTexto 395">
            <a:extLst>
              <a:ext uri="{FF2B5EF4-FFF2-40B4-BE49-F238E27FC236}">
                <a16:creationId xmlns:a16="http://schemas.microsoft.com/office/drawing/2014/main" id="{0FE61C62-B3C4-5B41-A642-5B0209293205}"/>
              </a:ext>
            </a:extLst>
          </p:cNvPr>
          <p:cNvSpPr txBox="1"/>
          <p:nvPr/>
        </p:nvSpPr>
        <p:spPr>
          <a:xfrm>
            <a:off x="5999404" y="2056007"/>
            <a:ext cx="158084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>
                <a:solidFill>
                  <a:srgbClr val="000000"/>
                </a:solidFill>
              </a:rPr>
              <a:t>Alignment &amp; </a:t>
            </a:r>
            <a:r>
              <a:rPr lang="en-AU" sz="900" b="1" dirty="0">
                <a:solidFill>
                  <a:srgbClr val="000000"/>
                </a:solidFill>
              </a:rPr>
              <a:t>Decision -Making</a:t>
            </a:r>
            <a:endParaRPr lang="en-AU" sz="1050" b="1" dirty="0">
              <a:solidFill>
                <a:srgbClr val="000000"/>
              </a:solidFill>
            </a:endParaRPr>
          </a:p>
        </p:txBody>
      </p:sp>
      <p:sp>
        <p:nvSpPr>
          <p:cNvPr id="101" name="CuadroTexto 395">
            <a:extLst>
              <a:ext uri="{FF2B5EF4-FFF2-40B4-BE49-F238E27FC236}">
                <a16:creationId xmlns:a16="http://schemas.microsoft.com/office/drawing/2014/main" id="{639F9E13-7BE4-0F43-9158-35CAD1691553}"/>
              </a:ext>
            </a:extLst>
          </p:cNvPr>
          <p:cNvSpPr txBox="1"/>
          <p:nvPr/>
        </p:nvSpPr>
        <p:spPr>
          <a:xfrm>
            <a:off x="7837080" y="2056007"/>
            <a:ext cx="1580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02" name="CuadroTexto 395">
            <a:extLst>
              <a:ext uri="{FF2B5EF4-FFF2-40B4-BE49-F238E27FC236}">
                <a16:creationId xmlns:a16="http://schemas.microsoft.com/office/drawing/2014/main" id="{49BA3BEF-D4A7-104B-A8B9-04CC554665ED}"/>
              </a:ext>
            </a:extLst>
          </p:cNvPr>
          <p:cNvSpPr txBox="1"/>
          <p:nvPr/>
        </p:nvSpPr>
        <p:spPr>
          <a:xfrm>
            <a:off x="9665483" y="2056007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3" name="Rectangle 56">
            <a:extLst>
              <a:ext uri="{FF2B5EF4-FFF2-40B4-BE49-F238E27FC236}">
                <a16:creationId xmlns:a16="http://schemas.microsoft.com/office/drawing/2014/main" id="{CA385A66-0276-D448-AA55-2B9E00E93A82}"/>
              </a:ext>
            </a:extLst>
          </p:cNvPr>
          <p:cNvSpPr/>
          <p:nvPr/>
        </p:nvSpPr>
        <p:spPr>
          <a:xfrm>
            <a:off x="4170604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4" name="Rectangle 56">
            <a:extLst>
              <a:ext uri="{FF2B5EF4-FFF2-40B4-BE49-F238E27FC236}">
                <a16:creationId xmlns:a16="http://schemas.microsoft.com/office/drawing/2014/main" id="{E40BDC3E-3E85-2D4F-BA30-CF34CEA32D46}"/>
              </a:ext>
            </a:extLst>
          </p:cNvPr>
          <p:cNvSpPr/>
          <p:nvPr/>
        </p:nvSpPr>
        <p:spPr>
          <a:xfrm>
            <a:off x="6021135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5" name="Rectangle 56">
            <a:extLst>
              <a:ext uri="{FF2B5EF4-FFF2-40B4-BE49-F238E27FC236}">
                <a16:creationId xmlns:a16="http://schemas.microsoft.com/office/drawing/2014/main" id="{FC3C0A96-FE17-C24D-B6F1-BC5082936FBF}"/>
              </a:ext>
            </a:extLst>
          </p:cNvPr>
          <p:cNvSpPr/>
          <p:nvPr/>
        </p:nvSpPr>
        <p:spPr>
          <a:xfrm>
            <a:off x="7868511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6" name="Rectangle 56">
            <a:extLst>
              <a:ext uri="{FF2B5EF4-FFF2-40B4-BE49-F238E27FC236}">
                <a16:creationId xmlns:a16="http://schemas.microsoft.com/office/drawing/2014/main" id="{679F6A8E-8301-B14B-BF85-899992EE3CE4}"/>
              </a:ext>
            </a:extLst>
          </p:cNvPr>
          <p:cNvSpPr/>
          <p:nvPr/>
        </p:nvSpPr>
        <p:spPr>
          <a:xfrm>
            <a:off x="9655063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C403440-B36F-B341-860C-B8B59D5026D1}"/>
              </a:ext>
            </a:extLst>
          </p:cNvPr>
          <p:cNvGrpSpPr/>
          <p:nvPr/>
        </p:nvGrpSpPr>
        <p:grpSpPr>
          <a:xfrm>
            <a:off x="839418" y="2393460"/>
            <a:ext cx="1757998" cy="2987361"/>
            <a:chOff x="12433198" y="4893478"/>
            <a:chExt cx="3515995" cy="5974722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914B5FD-6535-C04E-8574-89CC70FA573D}"/>
                </a:ext>
              </a:extLst>
            </p:cNvPr>
            <p:cNvSpPr txBox="1"/>
            <p:nvPr/>
          </p:nvSpPr>
          <p:spPr>
            <a:xfrm>
              <a:off x="12433198" y="5605734"/>
              <a:ext cx="3515995" cy="5262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040"/>
                </a:lnSpc>
              </a:pPr>
              <a:r>
                <a:rPr lang="en-US" sz="140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To get your company’s name out there, you need to make sure, that’s why we provide point.</a:t>
              </a:r>
            </a:p>
            <a:p>
              <a:pPr>
                <a:lnSpc>
                  <a:spcPts val="2040"/>
                </a:lnSpc>
              </a:pPr>
              <a:endPara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>
                <a:lnSpc>
                  <a:spcPts val="2040"/>
                </a:lnSpc>
              </a:pPr>
              <a:r>
                <a:rPr lang="en-US" sz="140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You need to make sure, that’s why we provide point.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0D5093E4-3AE9-EF46-B845-F2D945B57F4B}"/>
                </a:ext>
              </a:extLst>
            </p:cNvPr>
            <p:cNvSpPr/>
            <p:nvPr/>
          </p:nvSpPr>
          <p:spPr>
            <a:xfrm>
              <a:off x="12433198" y="4893478"/>
              <a:ext cx="3515995" cy="461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Montserrat" charset="0"/>
                </a:rPr>
                <a:t>Your Title</a:t>
              </a:r>
              <a:endParaRPr lang="en-US" sz="2700" dirty="0">
                <a:solidFill>
                  <a:schemeClr val="tx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endParaRPr>
            </a:p>
          </p:txBody>
        </p:sp>
      </p:grpSp>
      <p:grpSp>
        <p:nvGrpSpPr>
          <p:cNvPr id="29" name="Grupo 349">
            <a:extLst>
              <a:ext uri="{FF2B5EF4-FFF2-40B4-BE49-F238E27FC236}">
                <a16:creationId xmlns:a16="http://schemas.microsoft.com/office/drawing/2014/main" id="{3DFD5E6B-B22F-904D-A28C-44900BA5BAD1}"/>
              </a:ext>
            </a:extLst>
          </p:cNvPr>
          <p:cNvGrpSpPr/>
          <p:nvPr/>
        </p:nvGrpSpPr>
        <p:grpSpPr>
          <a:xfrm>
            <a:off x="1335742" y="511095"/>
            <a:ext cx="9520518" cy="911393"/>
            <a:chOff x="2668308" y="861425"/>
            <a:chExt cx="19041035" cy="1822785"/>
          </a:xfrm>
        </p:grpSpPr>
        <p:sp>
          <p:nvSpPr>
            <p:cNvPr id="30" name="CuadroTexto 350">
              <a:extLst>
                <a:ext uri="{FF2B5EF4-FFF2-40B4-BE49-F238E27FC236}">
                  <a16:creationId xmlns:a16="http://schemas.microsoft.com/office/drawing/2014/main" id="{2462E33C-9930-864E-B3B3-4123B37B68AC}"/>
                </a:ext>
              </a:extLst>
            </p:cNvPr>
            <p:cNvSpPr txBox="1"/>
            <p:nvPr/>
          </p:nvSpPr>
          <p:spPr>
            <a:xfrm>
              <a:off x="6856692" y="861425"/>
              <a:ext cx="10664329" cy="14157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Lato Heavy" charset="0"/>
                  <a:ea typeface="Lato Heavy" charset="0"/>
                  <a:cs typeface="Lato Heavy" charset="0"/>
                </a:rPr>
                <a:t>AIDA Model Diagram</a:t>
              </a:r>
            </a:p>
          </p:txBody>
        </p:sp>
        <p:sp>
          <p:nvSpPr>
            <p:cNvPr id="31" name="CuadroTexto 351">
              <a:extLst>
                <a:ext uri="{FF2B5EF4-FFF2-40B4-BE49-F238E27FC236}">
                  <a16:creationId xmlns:a16="http://schemas.microsoft.com/office/drawing/2014/main" id="{7F87DD9A-8ECA-D445-BF08-E51FBCB8858E}"/>
                </a:ext>
              </a:extLst>
            </p:cNvPr>
            <p:cNvSpPr txBox="1"/>
            <p:nvPr/>
          </p:nvSpPr>
          <p:spPr>
            <a:xfrm>
              <a:off x="2668308" y="2222546"/>
              <a:ext cx="19041035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Marketing is the study and management of exchange relationships. Marketing is the business process of creating relationships with and satisfying customer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33438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7">
            <a:extLst>
              <a:ext uri="{FF2B5EF4-FFF2-40B4-BE49-F238E27FC236}">
                <a16:creationId xmlns:a16="http://schemas.microsoft.com/office/drawing/2014/main" id="{B0A9DA14-2FAF-EF48-A2F9-28ABB15DFE91}"/>
              </a:ext>
            </a:extLst>
          </p:cNvPr>
          <p:cNvSpPr/>
          <p:nvPr/>
        </p:nvSpPr>
        <p:spPr>
          <a:xfrm>
            <a:off x="743000" y="1772816"/>
            <a:ext cx="1757998" cy="2731015"/>
          </a:xfrm>
          <a:custGeom>
            <a:avLst/>
            <a:gdLst>
              <a:gd name="connsiteX0" fmla="*/ 0 w 3493008"/>
              <a:gd name="connsiteY0" fmla="*/ 0 h 5687568"/>
              <a:gd name="connsiteX1" fmla="*/ 3493008 w 3493008"/>
              <a:gd name="connsiteY1" fmla="*/ 0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  <a:gd name="connsiteX0" fmla="*/ 0 w 3529584"/>
              <a:gd name="connsiteY0" fmla="*/ 0 h 5687568"/>
              <a:gd name="connsiteX1" fmla="*/ 3529584 w 3529584"/>
              <a:gd name="connsiteY1" fmla="*/ 2505456 h 5687568"/>
              <a:gd name="connsiteX2" fmla="*/ 3493008 w 3529584"/>
              <a:gd name="connsiteY2" fmla="*/ 5687568 h 5687568"/>
              <a:gd name="connsiteX3" fmla="*/ 0 w 3529584"/>
              <a:gd name="connsiteY3" fmla="*/ 5687568 h 5687568"/>
              <a:gd name="connsiteX4" fmla="*/ 0 w 3529584"/>
              <a:gd name="connsiteY4" fmla="*/ 0 h 5687568"/>
              <a:gd name="connsiteX0" fmla="*/ 0 w 3493008"/>
              <a:gd name="connsiteY0" fmla="*/ 0 h 5687568"/>
              <a:gd name="connsiteX1" fmla="*/ 3493008 w 3493008"/>
              <a:gd name="connsiteY1" fmla="*/ 1389888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5687568">
                <a:moveTo>
                  <a:pt x="0" y="0"/>
                </a:moveTo>
                <a:lnTo>
                  <a:pt x="3493008" y="1389888"/>
                </a:lnTo>
                <a:lnTo>
                  <a:pt x="3493008" y="5687568"/>
                </a:lnTo>
                <a:lnTo>
                  <a:pt x="0" y="56875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8" name="Rectangle 19">
            <a:extLst>
              <a:ext uri="{FF2B5EF4-FFF2-40B4-BE49-F238E27FC236}">
                <a16:creationId xmlns:a16="http://schemas.microsoft.com/office/drawing/2014/main" id="{33BF7B34-311F-FD4D-8A2D-C0D969BE700E}"/>
              </a:ext>
            </a:extLst>
          </p:cNvPr>
          <p:cNvSpPr/>
          <p:nvPr/>
        </p:nvSpPr>
        <p:spPr>
          <a:xfrm>
            <a:off x="2574631" y="2465449"/>
            <a:ext cx="1757998" cy="2038383"/>
          </a:xfrm>
          <a:custGeom>
            <a:avLst/>
            <a:gdLst>
              <a:gd name="connsiteX0" fmla="*/ 0 w 3493008"/>
              <a:gd name="connsiteY0" fmla="*/ 0 h 4245102"/>
              <a:gd name="connsiteX1" fmla="*/ 3493008 w 3493008"/>
              <a:gd name="connsiteY1" fmla="*/ 0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93008 w 3493008"/>
              <a:gd name="connsiteY1" fmla="*/ 1814512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78720 w 3493008"/>
              <a:gd name="connsiteY1" fmla="*/ 1385887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4245102">
                <a:moveTo>
                  <a:pt x="0" y="0"/>
                </a:moveTo>
                <a:lnTo>
                  <a:pt x="3478720" y="1385887"/>
                </a:lnTo>
                <a:cubicBezTo>
                  <a:pt x="3483483" y="2338959"/>
                  <a:pt x="3488245" y="3292030"/>
                  <a:pt x="3493008" y="4245102"/>
                </a:cubicBezTo>
                <a:lnTo>
                  <a:pt x="0" y="42451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83C83EC3-5808-6040-A565-CF8AB1BC3443}"/>
              </a:ext>
            </a:extLst>
          </p:cNvPr>
          <p:cNvSpPr/>
          <p:nvPr/>
        </p:nvSpPr>
        <p:spPr>
          <a:xfrm>
            <a:off x="4396930" y="3158693"/>
            <a:ext cx="1757998" cy="1345138"/>
          </a:xfrm>
          <a:custGeom>
            <a:avLst/>
            <a:gdLst>
              <a:gd name="connsiteX0" fmla="*/ 0 w 3493008"/>
              <a:gd name="connsiteY0" fmla="*/ 0 h 2844927"/>
              <a:gd name="connsiteX1" fmla="*/ 3493008 w 3493008"/>
              <a:gd name="connsiteY1" fmla="*/ 0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229193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558977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409075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87521 w 3493008"/>
              <a:gd name="connsiteY1" fmla="*/ 1425658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2844927">
                <a:moveTo>
                  <a:pt x="0" y="0"/>
                </a:moveTo>
                <a:lnTo>
                  <a:pt x="3487521" y="1425658"/>
                </a:lnTo>
                <a:lnTo>
                  <a:pt x="3493008" y="2844927"/>
                </a:lnTo>
                <a:lnTo>
                  <a:pt x="0" y="28449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6" name="Rectangle 21">
            <a:extLst>
              <a:ext uri="{FF2B5EF4-FFF2-40B4-BE49-F238E27FC236}">
                <a16:creationId xmlns:a16="http://schemas.microsoft.com/office/drawing/2014/main" id="{6A652803-EB20-7940-9F86-DD97688729B3}"/>
              </a:ext>
            </a:extLst>
          </p:cNvPr>
          <p:cNvSpPr/>
          <p:nvPr/>
        </p:nvSpPr>
        <p:spPr>
          <a:xfrm>
            <a:off x="6219229" y="3857143"/>
            <a:ext cx="1757998" cy="646688"/>
          </a:xfrm>
          <a:custGeom>
            <a:avLst/>
            <a:gdLst>
              <a:gd name="connsiteX0" fmla="*/ 0 w 3493008"/>
              <a:gd name="connsiteY0" fmla="*/ 0 h 1377296"/>
              <a:gd name="connsiteX1" fmla="*/ 3493008 w 3493008"/>
              <a:gd name="connsiteY1" fmla="*/ 0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  <a:gd name="connsiteX0" fmla="*/ 0 w 3493008"/>
              <a:gd name="connsiteY0" fmla="*/ 0 h 2008682"/>
              <a:gd name="connsiteX1" fmla="*/ 3493008 w 3493008"/>
              <a:gd name="connsiteY1" fmla="*/ 2008682 h 2008682"/>
              <a:gd name="connsiteX2" fmla="*/ 3493008 w 3493008"/>
              <a:gd name="connsiteY2" fmla="*/ 1377296 h 2008682"/>
              <a:gd name="connsiteX3" fmla="*/ 0 w 3493008"/>
              <a:gd name="connsiteY3" fmla="*/ 1377296 h 2008682"/>
              <a:gd name="connsiteX4" fmla="*/ 0 w 3493008"/>
              <a:gd name="connsiteY4" fmla="*/ 0 h 2008682"/>
              <a:gd name="connsiteX0" fmla="*/ 0 w 3493008"/>
              <a:gd name="connsiteY0" fmla="*/ 0 h 1377296"/>
              <a:gd name="connsiteX1" fmla="*/ 3493008 w 3493008"/>
              <a:gd name="connsiteY1" fmla="*/ 1364105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1377296">
                <a:moveTo>
                  <a:pt x="0" y="0"/>
                </a:moveTo>
                <a:lnTo>
                  <a:pt x="3493008" y="1364105"/>
                </a:lnTo>
                <a:lnTo>
                  <a:pt x="3493008" y="1377296"/>
                </a:lnTo>
                <a:lnTo>
                  <a:pt x="0" y="13772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4FC931-9195-2F4C-8C93-31C9CE438C47}"/>
              </a:ext>
            </a:extLst>
          </p:cNvPr>
          <p:cNvGrpSpPr/>
          <p:nvPr/>
        </p:nvGrpSpPr>
        <p:grpSpPr>
          <a:xfrm>
            <a:off x="2495600" y="1772816"/>
            <a:ext cx="5462728" cy="3049224"/>
            <a:chOff x="11668146" y="4526523"/>
            <a:chExt cx="10925456" cy="656257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5E37C28-3B93-D346-AC1F-71E26DD2F872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E2BB8EA-9F1B-5243-A523-CC3821EC564B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0E49B5-F0D1-974C-A893-2E2666938554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2F87AFE-C159-624B-8CCE-4F0DE3C36AF4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CuadroTexto 395">
            <a:extLst>
              <a:ext uri="{FF2B5EF4-FFF2-40B4-BE49-F238E27FC236}">
                <a16:creationId xmlns:a16="http://schemas.microsoft.com/office/drawing/2014/main" id="{0F5A3FAA-54A8-944B-A3EC-E377371A24F7}"/>
              </a:ext>
            </a:extLst>
          </p:cNvPr>
          <p:cNvSpPr txBox="1"/>
          <p:nvPr/>
        </p:nvSpPr>
        <p:spPr>
          <a:xfrm>
            <a:off x="803477" y="1498155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100" name="CuadroTexto 395">
            <a:extLst>
              <a:ext uri="{FF2B5EF4-FFF2-40B4-BE49-F238E27FC236}">
                <a16:creationId xmlns:a16="http://schemas.microsoft.com/office/drawing/2014/main" id="{0FE61C62-B3C4-5B41-A642-5B0209293205}"/>
              </a:ext>
            </a:extLst>
          </p:cNvPr>
          <p:cNvSpPr txBox="1"/>
          <p:nvPr/>
        </p:nvSpPr>
        <p:spPr>
          <a:xfrm>
            <a:off x="2632277" y="1498155"/>
            <a:ext cx="158084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>
                <a:solidFill>
                  <a:srgbClr val="000000"/>
                </a:solidFill>
              </a:rPr>
              <a:t>Alignment &amp; </a:t>
            </a:r>
            <a:r>
              <a:rPr lang="en-AU" sz="900" b="1" dirty="0">
                <a:solidFill>
                  <a:srgbClr val="000000"/>
                </a:solidFill>
              </a:rPr>
              <a:t>Decision -Making</a:t>
            </a:r>
            <a:endParaRPr lang="en-AU" sz="1050" b="1" dirty="0">
              <a:solidFill>
                <a:srgbClr val="000000"/>
              </a:solidFill>
            </a:endParaRPr>
          </a:p>
        </p:txBody>
      </p:sp>
      <p:sp>
        <p:nvSpPr>
          <p:cNvPr id="101" name="CuadroTexto 395">
            <a:extLst>
              <a:ext uri="{FF2B5EF4-FFF2-40B4-BE49-F238E27FC236}">
                <a16:creationId xmlns:a16="http://schemas.microsoft.com/office/drawing/2014/main" id="{639F9E13-7BE4-0F43-9158-35CAD1691553}"/>
              </a:ext>
            </a:extLst>
          </p:cNvPr>
          <p:cNvSpPr txBox="1"/>
          <p:nvPr/>
        </p:nvSpPr>
        <p:spPr>
          <a:xfrm>
            <a:off x="4469953" y="1498155"/>
            <a:ext cx="1580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02" name="CuadroTexto 395">
            <a:extLst>
              <a:ext uri="{FF2B5EF4-FFF2-40B4-BE49-F238E27FC236}">
                <a16:creationId xmlns:a16="http://schemas.microsoft.com/office/drawing/2014/main" id="{49BA3BEF-D4A7-104B-A8B9-04CC554665ED}"/>
              </a:ext>
            </a:extLst>
          </p:cNvPr>
          <p:cNvSpPr txBox="1"/>
          <p:nvPr/>
        </p:nvSpPr>
        <p:spPr>
          <a:xfrm>
            <a:off x="6298356" y="1498155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3" name="Rectangle 56">
            <a:extLst>
              <a:ext uri="{FF2B5EF4-FFF2-40B4-BE49-F238E27FC236}">
                <a16:creationId xmlns:a16="http://schemas.microsoft.com/office/drawing/2014/main" id="{CA385A66-0276-D448-AA55-2B9E00E93A82}"/>
              </a:ext>
            </a:extLst>
          </p:cNvPr>
          <p:cNvSpPr/>
          <p:nvPr/>
        </p:nvSpPr>
        <p:spPr>
          <a:xfrm>
            <a:off x="4170604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4" name="Rectangle 56">
            <a:extLst>
              <a:ext uri="{FF2B5EF4-FFF2-40B4-BE49-F238E27FC236}">
                <a16:creationId xmlns:a16="http://schemas.microsoft.com/office/drawing/2014/main" id="{E40BDC3E-3E85-2D4F-BA30-CF34CEA32D46}"/>
              </a:ext>
            </a:extLst>
          </p:cNvPr>
          <p:cNvSpPr/>
          <p:nvPr/>
        </p:nvSpPr>
        <p:spPr>
          <a:xfrm>
            <a:off x="6021135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5" name="Rectangle 56">
            <a:extLst>
              <a:ext uri="{FF2B5EF4-FFF2-40B4-BE49-F238E27FC236}">
                <a16:creationId xmlns:a16="http://schemas.microsoft.com/office/drawing/2014/main" id="{FC3C0A96-FE17-C24D-B6F1-BC5082936FBF}"/>
              </a:ext>
            </a:extLst>
          </p:cNvPr>
          <p:cNvSpPr/>
          <p:nvPr/>
        </p:nvSpPr>
        <p:spPr>
          <a:xfrm>
            <a:off x="7868511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6" name="Rectangle 56">
            <a:extLst>
              <a:ext uri="{FF2B5EF4-FFF2-40B4-BE49-F238E27FC236}">
                <a16:creationId xmlns:a16="http://schemas.microsoft.com/office/drawing/2014/main" id="{679F6A8E-8301-B14B-BF85-899992EE3CE4}"/>
              </a:ext>
            </a:extLst>
          </p:cNvPr>
          <p:cNvSpPr/>
          <p:nvPr/>
        </p:nvSpPr>
        <p:spPr>
          <a:xfrm>
            <a:off x="9655063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</p:spTree>
    <p:extLst>
      <p:ext uri="{BB962C8B-B14F-4D97-AF65-F5344CB8AC3E}">
        <p14:creationId xmlns:p14="http://schemas.microsoft.com/office/powerpoint/2010/main" val="5408058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>
            <a:extLst>
              <a:ext uri="{FF2B5EF4-FFF2-40B4-BE49-F238E27FC236}">
                <a16:creationId xmlns:a16="http://schemas.microsoft.com/office/drawing/2014/main" id="{1B311FD7-AA7C-E1EF-4F41-FEBF43ED79F5}"/>
              </a:ext>
            </a:extLst>
          </p:cNvPr>
          <p:cNvSpPr txBox="1">
            <a:spLocks/>
          </p:cNvSpPr>
          <p:nvPr/>
        </p:nvSpPr>
        <p:spPr bwMode="gray">
          <a:xfrm>
            <a:off x="5485800" y="689247"/>
            <a:ext cx="1220400" cy="85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 </a:t>
            </a:r>
            <a:endParaRPr lang="de-DE" dirty="0"/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E83B4E13-3503-D1FD-F2C1-9E0AA444FDC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71EEA84A-4CE7-A844-6868-9F467A6098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1FCD5C63-ACBA-8059-80A8-991192E4A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pPr marL="0" indent="0">
              <a:buClr>
                <a:srgbClr val="EC0016"/>
              </a:buClr>
              <a:buNone/>
            </a:pPr>
            <a:r>
              <a:rPr lang="de-DE" dirty="0"/>
              <a:t>Name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am VDT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xxxxxxx.xxxxx@deutschebahn.com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X Bereich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Jürgen-Ponto-Platz 2 | 60329 Frankfurt am Main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02A64DC3-5352-504E-39EA-8BD7164DC4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pPr marL="0" indent="0">
              <a:buClr>
                <a:srgbClr val="EC0016"/>
              </a:buClr>
              <a:buNone/>
            </a:pPr>
            <a:r>
              <a:rPr lang="de-DE" dirty="0"/>
              <a:t>Name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am VDT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xxxxxxx.xxxxx@deutschebahn.com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X Bereich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Jürgen-Ponto-Platz 2 | 60329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2259214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9722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60869EFA-8790-C0C6-7B35-6356DF08541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3" name="easyObject_picBrightness">
            <a:extLst>
              <a:ext uri="{FF2B5EF4-FFF2-40B4-BE49-F238E27FC236}">
                <a16:creationId xmlns:a16="http://schemas.microsoft.com/office/drawing/2014/main" id="{B0AF8E12-D855-4EBE-6CC4-60E214F51EBB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D926238-5126-6EAD-156E-C70EA4B48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842C94BF-A72F-7DCA-8452-0D71AF31C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EF221E5B-5ABC-1C83-8491-4B895F1392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D66317D-5CF0-EE8A-C58A-9AFE40BA42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T-Ressort | [Bereich] | TXX-Bereich | Digital Team | 02.07.2024</a:t>
            </a:r>
          </a:p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51E8EA8-F30E-3012-6B66-9E41B6BC8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489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723E524-3387-5F61-10AA-904A32902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3D2812-F690-FCBD-4727-96BFD706B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</a:rPr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2FA1269-3852-5727-8D3B-67671A516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1136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615820" y="3674672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lignment &amp; </a:t>
            </a:r>
            <a:r>
              <a:rPr lang="en-AU" sz="1200" dirty="0">
                <a:solidFill>
                  <a:srgbClr val="000000"/>
                </a:solidFill>
              </a:rPr>
              <a:t>Decision -Making</a:t>
            </a:r>
            <a:endParaRPr lang="en-AU" sz="1600" dirty="0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2175235" y="1284906"/>
            <a:ext cx="1750263" cy="1432379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1600" dirty="0">
                <a:solidFill>
                  <a:srgbClr val="EC0016"/>
                </a:solidFill>
              </a:rPr>
              <a:t>Leadership</a:t>
            </a:r>
          </a:p>
          <a:p>
            <a:pPr algn="ctr"/>
            <a:r>
              <a:rPr lang="en-AU" sz="1600" dirty="0">
                <a:solidFill>
                  <a:srgbClr val="EC0016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2193701" y="4444848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3707710" y="3674671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193702" y="2830627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924833" y="358035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1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317284" y="4491402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418982" y="4476649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963736" y="523938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3532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1252123" y="3095692"/>
            <a:ext cx="3619742" cy="1989492"/>
          </a:xfrm>
          <a:prstGeom prst="donut">
            <a:avLst>
              <a:gd name="adj" fmla="val 3334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615820" y="3674672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lignment &amp; </a:t>
            </a:r>
            <a:r>
              <a:rPr lang="en-AU" sz="1200" dirty="0">
                <a:solidFill>
                  <a:srgbClr val="000000"/>
                </a:solidFill>
              </a:rPr>
              <a:t>Decision -Making</a:t>
            </a:r>
            <a:endParaRPr lang="en-AU" sz="1600" dirty="0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2161766" y="3836105"/>
            <a:ext cx="1750263" cy="54632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1600" dirty="0">
                <a:solidFill>
                  <a:srgbClr val="EC0016"/>
                </a:solidFill>
              </a:rPr>
              <a:t>Leadership</a:t>
            </a:r>
          </a:p>
          <a:p>
            <a:pPr algn="ctr"/>
            <a:r>
              <a:rPr lang="en-AU" sz="1600" dirty="0">
                <a:solidFill>
                  <a:srgbClr val="EC0016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2193701" y="4444848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3707710" y="3674671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193702" y="2830627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924833" y="268864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1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03757" y="401103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282037" y="401103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924833" y="5261579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AB5E408-0617-CC38-61E3-7E047DAE9A02}"/>
              </a:ext>
            </a:extLst>
          </p:cNvPr>
          <p:cNvSpPr/>
          <p:nvPr/>
        </p:nvSpPr>
        <p:spPr>
          <a:xfrm>
            <a:off x="6888088" y="2688643"/>
            <a:ext cx="72008" cy="374304"/>
          </a:xfrm>
          <a:prstGeom prst="roundRect">
            <a:avLst>
              <a:gd name="adj" fmla="val 4533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BB45542-2143-D133-65BB-0E732DFE9B1A}"/>
              </a:ext>
            </a:extLst>
          </p:cNvPr>
          <p:cNvSpPr/>
          <p:nvPr/>
        </p:nvSpPr>
        <p:spPr>
          <a:xfrm rot="21251213">
            <a:off x="6832725" y="2486109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775B4622-33B6-0C1C-571E-F995DEC163E2}"/>
              </a:ext>
            </a:extLst>
          </p:cNvPr>
          <p:cNvSpPr/>
          <p:nvPr/>
        </p:nvSpPr>
        <p:spPr>
          <a:xfrm rot="18999263">
            <a:off x="6725386" y="2758619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FDB0472-E501-1ADF-F3E2-58CBAAFC7669}"/>
              </a:ext>
            </a:extLst>
          </p:cNvPr>
          <p:cNvSpPr/>
          <p:nvPr/>
        </p:nvSpPr>
        <p:spPr>
          <a:xfrm rot="2119257">
            <a:off x="6972000" y="2451243"/>
            <a:ext cx="65037" cy="310982"/>
          </a:xfrm>
          <a:prstGeom prst="roundRect">
            <a:avLst>
              <a:gd name="adj" fmla="val 4533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F38F19CB-AB57-EA36-3D8C-7BB4C30DE679}"/>
              </a:ext>
            </a:extLst>
          </p:cNvPr>
          <p:cNvSpPr/>
          <p:nvPr/>
        </p:nvSpPr>
        <p:spPr>
          <a:xfrm rot="21248424">
            <a:off x="7033141" y="2221734"/>
            <a:ext cx="65037" cy="310982"/>
          </a:xfrm>
          <a:prstGeom prst="roundRect">
            <a:avLst>
              <a:gd name="adj" fmla="val 4533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DB087B89-1A0E-06FF-DBFF-77E57E03D9CA}"/>
              </a:ext>
            </a:extLst>
          </p:cNvPr>
          <p:cNvSpPr/>
          <p:nvPr/>
        </p:nvSpPr>
        <p:spPr>
          <a:xfrm rot="19081120">
            <a:off x="6868532" y="2278008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02864BD5-E08F-8839-1814-0CAB9C257C67}"/>
              </a:ext>
            </a:extLst>
          </p:cNvPr>
          <p:cNvSpPr/>
          <p:nvPr/>
        </p:nvSpPr>
        <p:spPr>
          <a:xfrm rot="15427231">
            <a:off x="7037557" y="2572356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9B27DBC-E4D3-7E67-F347-441F901490AD}"/>
              </a:ext>
            </a:extLst>
          </p:cNvPr>
          <p:cNvSpPr/>
          <p:nvPr/>
        </p:nvSpPr>
        <p:spPr>
          <a:xfrm rot="13377330">
            <a:off x="6991032" y="2771566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CC0267D7-5182-3169-37FA-98DB828BE530}"/>
              </a:ext>
            </a:extLst>
          </p:cNvPr>
          <p:cNvSpPr/>
          <p:nvPr/>
        </p:nvSpPr>
        <p:spPr>
          <a:xfrm rot="12663683">
            <a:off x="7136394" y="2273948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7916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3494278" y="2444584"/>
            <a:ext cx="4596528" cy="2880320"/>
          </a:xfrm>
          <a:prstGeom prst="donut">
            <a:avLst>
              <a:gd name="adj" fmla="val 3334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312358" y="3372959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lignment &amp; </a:t>
            </a:r>
            <a:r>
              <a:rPr lang="en-AU" sz="1200" dirty="0">
                <a:solidFill>
                  <a:srgbClr val="000000"/>
                </a:solidFill>
              </a:rPr>
              <a:t>Decision -Making</a:t>
            </a:r>
            <a:endParaRPr lang="en-AU" sz="1600" dirty="0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901442" y="3538693"/>
            <a:ext cx="1782200" cy="69210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2000" dirty="0">
                <a:solidFill>
                  <a:srgbClr val="EC0016"/>
                </a:solidFill>
              </a:rPr>
              <a:t>Leadership</a:t>
            </a:r>
          </a:p>
          <a:p>
            <a:pPr algn="ctr"/>
            <a:r>
              <a:rPr lang="en-AU" sz="2000" dirty="0">
                <a:solidFill>
                  <a:srgbClr val="EC0016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4949347" y="4840749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7522463" y="3368808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917411" y="2035188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6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648542" y="1893204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200295" y="370932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9096790" y="370517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680479" y="5657480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4352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2A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3350262" y="1652496"/>
            <a:ext cx="4596528" cy="2880320"/>
          </a:xfrm>
          <a:prstGeom prst="donut">
            <a:avLst>
              <a:gd name="adj" fmla="val 3334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168342" y="2580871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/>
              <a:t>Alignment &amp; </a:t>
            </a:r>
            <a:r>
              <a:rPr lang="en-AU" sz="1200" dirty="0"/>
              <a:t>Decision -Making</a:t>
            </a:r>
            <a:endParaRPr lang="en-AU" sz="1600" dirty="0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757426" y="2746605"/>
            <a:ext cx="1782200" cy="69210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2400" b="1" dirty="0">
                <a:solidFill>
                  <a:schemeClr val="bg1"/>
                </a:solidFill>
              </a:rPr>
              <a:t>Leadership</a:t>
            </a:r>
          </a:p>
          <a:p>
            <a:pPr algn="ctr"/>
            <a:r>
              <a:rPr lang="en-AU" sz="2400" b="1" dirty="0">
                <a:solidFill>
                  <a:schemeClr val="bg1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4757426" y="4177947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/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7378447" y="2576720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chemeClr val="bg1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773395" y="1243100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>
                <a:solidFill>
                  <a:schemeClr val="bg1"/>
                </a:solidFill>
              </a:rPr>
              <a:t>Driver for a Vision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7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504526" y="110111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056279" y="291723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952774" y="291308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488558" y="4968490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532D9D32-403D-C638-9B77-238121371E16}"/>
              </a:ext>
            </a:extLst>
          </p:cNvPr>
          <p:cNvSpPr/>
          <p:nvPr/>
        </p:nvSpPr>
        <p:spPr>
          <a:xfrm>
            <a:off x="1559496" y="476672"/>
            <a:ext cx="8176130" cy="5268840"/>
          </a:xfrm>
          <a:prstGeom prst="donut">
            <a:avLst>
              <a:gd name="adj" fmla="val 9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AutoShape 9">
            <a:extLst>
              <a:ext uri="{FF2B5EF4-FFF2-40B4-BE49-F238E27FC236}">
                <a16:creationId xmlns:a16="http://schemas.microsoft.com/office/drawing/2014/main" id="{42CA3456-5AEA-E7DF-F5D1-7AD0FA83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8982" y="657298"/>
            <a:ext cx="1109103" cy="271524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</a:rPr>
              <a:t>Set path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CD89D2E0-4FAA-20A9-5330-DEDFACBA5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374" y="340972"/>
            <a:ext cx="1521609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Motivate Internally and Externally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1B35FE60-CE05-5180-517D-8F7D08531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6523" y="603393"/>
            <a:ext cx="969342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Risk: Not having one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645FFDFD-0532-743D-5218-5120063CF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0717" y="1696718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Delegation &amp; Accountability</a:t>
            </a:r>
          </a:p>
        </p:txBody>
      </p:sp>
      <p:sp>
        <p:nvSpPr>
          <p:cNvPr id="21" name="AutoShape 9">
            <a:extLst>
              <a:ext uri="{FF2B5EF4-FFF2-40B4-BE49-F238E27FC236}">
                <a16:creationId xmlns:a16="http://schemas.microsoft.com/office/drawing/2014/main" id="{6B0ACB0F-72E6-3EEB-70E5-980062AB9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243" y="3461208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Constant Alignment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21311031-F9F8-259B-EF31-18E1C8682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348" y="2402240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Information Integration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9A2DE5A2-3CC5-9DAE-AC1A-450C2A7C4C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0717" y="4171215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Take the left decision</a:t>
            </a: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5A1D14BD-EFB0-332E-68EC-8EF1849F0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9745" y="2939905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Closer to the Truth: Pushing against Social Equilibrium</a:t>
            </a: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27" name="AutoShape 9">
            <a:extLst>
              <a:ext uri="{FF2B5EF4-FFF2-40B4-BE49-F238E27FC236}">
                <a16:creationId xmlns:a16="http://schemas.microsoft.com/office/drawing/2014/main" id="{3009403D-F73B-9BC7-6B2E-F305BD22C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2773" y="2010354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Memo: Coherent Decision Framework</a:t>
            </a: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28" name="AutoShape 9">
            <a:extLst>
              <a:ext uri="{FF2B5EF4-FFF2-40B4-BE49-F238E27FC236}">
                <a16:creationId xmlns:a16="http://schemas.microsoft.com/office/drawing/2014/main" id="{E570E749-25E4-8C66-A7AA-B8B090EF5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5680" y="5474160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/>
              <a:t>Protect the vision and the Group: Keeping the promise</a:t>
            </a:r>
            <a:endParaRPr lang="en-AU" sz="1000" dirty="0"/>
          </a:p>
        </p:txBody>
      </p:sp>
      <p:sp>
        <p:nvSpPr>
          <p:cNvPr id="29" name="AutoShape 9">
            <a:extLst>
              <a:ext uri="{FF2B5EF4-FFF2-40B4-BE49-F238E27FC236}">
                <a16:creationId xmlns:a16="http://schemas.microsoft.com/office/drawing/2014/main" id="{09AB13A1-0FD0-043B-AE9F-E7AF911E4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3025" y="3980580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ecision Making: Information-Flow</a:t>
            </a:r>
            <a:endParaRPr lang="en-AU" sz="1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Formal Medical Advances presentation template ">
            <a:extLst>
              <a:ext uri="{FF2B5EF4-FFF2-40B4-BE49-F238E27FC236}">
                <a16:creationId xmlns:a16="http://schemas.microsoft.com/office/drawing/2014/main" id="{8E6CF8D7-334B-8120-FDC4-B82359F6D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3827" y="7075400"/>
            <a:ext cx="9924337" cy="557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ormal Medical Advances presentation template ">
            <a:extLst>
              <a:ext uri="{FF2B5EF4-FFF2-40B4-BE49-F238E27FC236}">
                <a16:creationId xmlns:a16="http://schemas.microsoft.com/office/drawing/2014/main" id="{0B6EF011-8746-336D-C71D-F55A1EE67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587" y="7064018"/>
            <a:ext cx="70485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utoShape 9">
            <a:extLst>
              <a:ext uri="{FF2B5EF4-FFF2-40B4-BE49-F238E27FC236}">
                <a16:creationId xmlns:a16="http://schemas.microsoft.com/office/drawing/2014/main" id="{60C6A531-98CB-2FA4-68C4-81EE886E9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0228" y="5472288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/>
              <a:t>*Joining</a:t>
            </a:r>
            <a:endParaRPr lang="en-AU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92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3350262" y="1652496"/>
            <a:ext cx="4596528" cy="2880320"/>
          </a:xfrm>
          <a:prstGeom prst="donut">
            <a:avLst>
              <a:gd name="adj" fmla="val 3334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168342" y="2580871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/>
              <a:t>Alignment &amp; </a:t>
            </a:r>
            <a:r>
              <a:rPr lang="en-AU" sz="1200" dirty="0"/>
              <a:t>Decision -Making</a:t>
            </a:r>
            <a:endParaRPr lang="en-AU" sz="1600" dirty="0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757426" y="2746605"/>
            <a:ext cx="1782200" cy="69210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2400" b="1" dirty="0">
                <a:solidFill>
                  <a:srgbClr val="000000"/>
                </a:solidFill>
              </a:rPr>
              <a:t>Leadership</a:t>
            </a:r>
          </a:p>
          <a:p>
            <a:pPr algn="ctr"/>
            <a:r>
              <a:rPr lang="en-AU" sz="2400" b="1" dirty="0">
                <a:solidFill>
                  <a:srgbClr val="000000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4757426" y="4177947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/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7378447" y="2576720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chemeClr val="bg1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773395" y="1243100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>
                <a:solidFill>
                  <a:schemeClr val="bg1"/>
                </a:solidFill>
              </a:rPr>
              <a:t>Driver for a Vision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8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504526" y="110111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056279" y="291723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952774" y="291308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488558" y="4968490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532D9D32-403D-C638-9B77-238121371E16}"/>
              </a:ext>
            </a:extLst>
          </p:cNvPr>
          <p:cNvSpPr/>
          <p:nvPr/>
        </p:nvSpPr>
        <p:spPr>
          <a:xfrm>
            <a:off x="1559496" y="476672"/>
            <a:ext cx="8176130" cy="5268840"/>
          </a:xfrm>
          <a:prstGeom prst="donut">
            <a:avLst>
              <a:gd name="adj" fmla="val 9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AutoShape 9">
            <a:extLst>
              <a:ext uri="{FF2B5EF4-FFF2-40B4-BE49-F238E27FC236}">
                <a16:creationId xmlns:a16="http://schemas.microsoft.com/office/drawing/2014/main" id="{42CA3456-5AEA-E7DF-F5D1-7AD0FA83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8982" y="657298"/>
            <a:ext cx="1109103" cy="271524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</a:rPr>
              <a:t>Set path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CD89D2E0-4FAA-20A9-5330-DEDFACBA5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374" y="340972"/>
            <a:ext cx="1521609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Motivate Internally and Externally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1B35FE60-CE05-5180-517D-8F7D08531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6523" y="603393"/>
            <a:ext cx="969342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Risk: Not having one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645FFDFD-0532-743D-5218-5120063CF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0717" y="1696718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Delegation &amp; Accountability</a:t>
            </a:r>
          </a:p>
        </p:txBody>
      </p:sp>
      <p:sp>
        <p:nvSpPr>
          <p:cNvPr id="21" name="AutoShape 9">
            <a:extLst>
              <a:ext uri="{FF2B5EF4-FFF2-40B4-BE49-F238E27FC236}">
                <a16:creationId xmlns:a16="http://schemas.microsoft.com/office/drawing/2014/main" id="{6B0ACB0F-72E6-3EEB-70E5-980062AB9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243" y="3461208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Constant Alignment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21311031-F9F8-259B-EF31-18E1C8682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348" y="2402240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Information Integration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9A2DE5A2-3CC5-9DAE-AC1A-450C2A7C4C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0717" y="4171215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Take the left decision</a:t>
            </a: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5A1D14BD-EFB0-332E-68EC-8EF1849F0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9745" y="2939905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Closer to the Truth: Pushing against Social Equilibrium</a:t>
            </a: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27" name="AutoShape 9">
            <a:extLst>
              <a:ext uri="{FF2B5EF4-FFF2-40B4-BE49-F238E27FC236}">
                <a16:creationId xmlns:a16="http://schemas.microsoft.com/office/drawing/2014/main" id="{3009403D-F73B-9BC7-6B2E-F305BD22C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2773" y="2010354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Memo: Coherent Decision Framework</a:t>
            </a: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28" name="AutoShape 9">
            <a:extLst>
              <a:ext uri="{FF2B5EF4-FFF2-40B4-BE49-F238E27FC236}">
                <a16:creationId xmlns:a16="http://schemas.microsoft.com/office/drawing/2014/main" id="{E570E749-25E4-8C66-A7AA-B8B090EF5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5680" y="5474160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/>
              <a:t>Protect the vision and the Group: Keeping the promise</a:t>
            </a:r>
            <a:endParaRPr lang="en-AU" sz="1000" dirty="0"/>
          </a:p>
        </p:txBody>
      </p:sp>
      <p:sp>
        <p:nvSpPr>
          <p:cNvPr id="29" name="AutoShape 9">
            <a:extLst>
              <a:ext uri="{FF2B5EF4-FFF2-40B4-BE49-F238E27FC236}">
                <a16:creationId xmlns:a16="http://schemas.microsoft.com/office/drawing/2014/main" id="{09AB13A1-0FD0-043B-AE9F-E7AF911E4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3025" y="3980580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ecision Making: Information-Flow</a:t>
            </a:r>
            <a:endParaRPr lang="en-AU" sz="1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Formal Medical Advances presentation template ">
            <a:extLst>
              <a:ext uri="{FF2B5EF4-FFF2-40B4-BE49-F238E27FC236}">
                <a16:creationId xmlns:a16="http://schemas.microsoft.com/office/drawing/2014/main" id="{8E6CF8D7-334B-8120-FDC4-B82359F6D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3827" y="7075400"/>
            <a:ext cx="9924337" cy="557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ormal Medical Advances presentation template ">
            <a:extLst>
              <a:ext uri="{FF2B5EF4-FFF2-40B4-BE49-F238E27FC236}">
                <a16:creationId xmlns:a16="http://schemas.microsoft.com/office/drawing/2014/main" id="{0B6EF011-8746-336D-C71D-F55A1EE67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587" y="7064018"/>
            <a:ext cx="70485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utoShape 9">
            <a:extLst>
              <a:ext uri="{FF2B5EF4-FFF2-40B4-BE49-F238E27FC236}">
                <a16:creationId xmlns:a16="http://schemas.microsoft.com/office/drawing/2014/main" id="{60C6A531-98CB-2FA4-68C4-81EE886E9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0228" y="5472288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/>
              <a:t>*Joining</a:t>
            </a:r>
            <a:endParaRPr lang="en-AU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3328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C154E53-27E1-2104-F2AD-08AB43A0CCEA}"/>
              </a:ext>
            </a:extLst>
          </p:cNvPr>
          <p:cNvCxnSpPr>
            <a:cxnSpLocks/>
            <a:stCxn id="56" idx="5"/>
            <a:endCxn id="59" idx="1"/>
          </p:cNvCxnSpPr>
          <p:nvPr/>
        </p:nvCxnSpPr>
        <p:spPr>
          <a:xfrm>
            <a:off x="3589842" y="2228365"/>
            <a:ext cx="1905544" cy="172336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71" imgH="471" progId="TCLayout.ActiveDocument.1">
                  <p:embed/>
                </p:oleObj>
              </mc:Choice>
              <mc:Fallback>
                <p:oleObj name="think-cell Folie" r:id="rId6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9</a:t>
            </a:fld>
            <a:endParaRPr lang="de-DE"/>
          </a:p>
        </p:txBody>
      </p:sp>
      <p:pic>
        <p:nvPicPr>
          <p:cNvPr id="1026" name="Picture 2" descr="Formal Medical Advances presentation template ">
            <a:extLst>
              <a:ext uri="{FF2B5EF4-FFF2-40B4-BE49-F238E27FC236}">
                <a16:creationId xmlns:a16="http://schemas.microsoft.com/office/drawing/2014/main" id="{8E6CF8D7-334B-8120-FDC4-B82359F6D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3827" y="7075400"/>
            <a:ext cx="9924337" cy="557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ormal Medical Advances presentation template ">
            <a:extLst>
              <a:ext uri="{FF2B5EF4-FFF2-40B4-BE49-F238E27FC236}">
                <a16:creationId xmlns:a16="http://schemas.microsoft.com/office/drawing/2014/main" id="{0B6EF011-8746-336D-C71D-F55A1EE67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587" y="7064018"/>
            <a:ext cx="70485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B8613D7-B163-2280-43EA-1A8D761DCA5E}"/>
              </a:ext>
            </a:extLst>
          </p:cNvPr>
          <p:cNvGrpSpPr/>
          <p:nvPr/>
        </p:nvGrpSpPr>
        <p:grpSpPr>
          <a:xfrm>
            <a:off x="3847256" y="1175024"/>
            <a:ext cx="1343007" cy="1393298"/>
            <a:chOff x="5418483" y="1878778"/>
            <a:chExt cx="1343007" cy="1393298"/>
          </a:xfrm>
        </p:grpSpPr>
        <p:sp>
          <p:nvSpPr>
            <p:cNvPr id="38" name="Hexagon 37">
              <a:extLst>
                <a:ext uri="{FF2B5EF4-FFF2-40B4-BE49-F238E27FC236}">
                  <a16:creationId xmlns:a16="http://schemas.microsoft.com/office/drawing/2014/main" id="{42272267-473A-D364-73F5-2EF6CBA11F9B}"/>
                </a:ext>
              </a:extLst>
            </p:cNvPr>
            <p:cNvSpPr/>
            <p:nvPr/>
          </p:nvSpPr>
          <p:spPr>
            <a:xfrm rot="5400000">
              <a:off x="5393338" y="1903923"/>
              <a:ext cx="1393298" cy="1343007"/>
            </a:xfrm>
            <a:prstGeom prst="hexagon">
              <a:avLst/>
            </a:prstGeom>
            <a:gradFill flip="none" rotWithShape="1">
              <a:gsLst>
                <a:gs pos="0">
                  <a:srgbClr val="20757F">
                    <a:shade val="30000"/>
                    <a:satMod val="115000"/>
                  </a:srgbClr>
                </a:gs>
                <a:gs pos="50000">
                  <a:srgbClr val="20757F">
                    <a:shade val="67500"/>
                    <a:satMod val="115000"/>
                  </a:srgbClr>
                </a:gs>
                <a:gs pos="100000">
                  <a:srgbClr val="20757F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Hexagon 40">
              <a:extLst>
                <a:ext uri="{FF2B5EF4-FFF2-40B4-BE49-F238E27FC236}">
                  <a16:creationId xmlns:a16="http://schemas.microsoft.com/office/drawing/2014/main" id="{5F910241-4A2E-DCBE-6D3C-10939C2A2D5E}"/>
                </a:ext>
              </a:extLst>
            </p:cNvPr>
            <p:cNvSpPr/>
            <p:nvPr/>
          </p:nvSpPr>
          <p:spPr>
            <a:xfrm rot="5400000">
              <a:off x="5533456" y="1934504"/>
              <a:ext cx="1112400" cy="1256658"/>
            </a:xfrm>
            <a:prstGeom prst="hexagon">
              <a:avLst/>
            </a:prstGeom>
            <a:solidFill>
              <a:srgbClr val="42A3AB"/>
            </a:soli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r>
                <a:rPr lang="de-DE" sz="1600" b="1" dirty="0">
                  <a:solidFill>
                    <a:schemeClr val="bg1"/>
                  </a:solidFill>
                </a:rPr>
                <a:t>Vision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27CF517-1EC6-EB99-3A6E-2357A55552FD}"/>
              </a:ext>
            </a:extLst>
          </p:cNvPr>
          <p:cNvGrpSpPr/>
          <p:nvPr/>
        </p:nvGrpSpPr>
        <p:grpSpPr>
          <a:xfrm>
            <a:off x="2604372" y="2335771"/>
            <a:ext cx="1343007" cy="1393298"/>
            <a:chOff x="5418483" y="1878778"/>
            <a:chExt cx="1343007" cy="1393298"/>
          </a:xfrm>
        </p:grpSpPr>
        <p:sp>
          <p:nvSpPr>
            <p:cNvPr id="44" name="Hexagon 43">
              <a:extLst>
                <a:ext uri="{FF2B5EF4-FFF2-40B4-BE49-F238E27FC236}">
                  <a16:creationId xmlns:a16="http://schemas.microsoft.com/office/drawing/2014/main" id="{00B71555-7585-F953-1F02-A8ADDECDAE93}"/>
                </a:ext>
              </a:extLst>
            </p:cNvPr>
            <p:cNvSpPr/>
            <p:nvPr/>
          </p:nvSpPr>
          <p:spPr>
            <a:xfrm rot="5400000">
              <a:off x="5393338" y="1903923"/>
              <a:ext cx="1393298" cy="1343007"/>
            </a:xfrm>
            <a:prstGeom prst="hexagon">
              <a:avLst/>
            </a:prstGeom>
            <a:gradFill flip="none" rotWithShape="1">
              <a:gsLst>
                <a:gs pos="0">
                  <a:srgbClr val="20757F">
                    <a:shade val="30000"/>
                    <a:satMod val="115000"/>
                  </a:srgbClr>
                </a:gs>
                <a:gs pos="50000">
                  <a:srgbClr val="20757F">
                    <a:shade val="67500"/>
                    <a:satMod val="115000"/>
                  </a:srgbClr>
                </a:gs>
                <a:gs pos="100000">
                  <a:srgbClr val="20757F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45" name="Hexagon 44">
              <a:extLst>
                <a:ext uri="{FF2B5EF4-FFF2-40B4-BE49-F238E27FC236}">
                  <a16:creationId xmlns:a16="http://schemas.microsoft.com/office/drawing/2014/main" id="{E149334F-40DB-4EE8-4663-6A5E529D8237}"/>
                </a:ext>
              </a:extLst>
            </p:cNvPr>
            <p:cNvSpPr/>
            <p:nvPr/>
          </p:nvSpPr>
          <p:spPr>
            <a:xfrm rot="5400000">
              <a:off x="5527767" y="1905185"/>
              <a:ext cx="1113757" cy="1313940"/>
            </a:xfrm>
            <a:prstGeom prst="hexagon">
              <a:avLst/>
            </a:prstGeom>
            <a:gradFill>
              <a:gsLst>
                <a:gs pos="99000">
                  <a:srgbClr val="B0B3CB">
                    <a:shade val="30000"/>
                    <a:satMod val="115000"/>
                  </a:srgbClr>
                </a:gs>
                <a:gs pos="50000">
                  <a:srgbClr val="B0B3CB">
                    <a:shade val="67500"/>
                    <a:satMod val="115000"/>
                  </a:srgbClr>
                </a:gs>
                <a:gs pos="96602">
                  <a:srgbClr val="B0B3CB">
                    <a:shade val="30000"/>
                    <a:satMod val="115000"/>
                  </a:srgbClr>
                </a:gs>
                <a:gs pos="2000">
                  <a:srgbClr val="B0B3CB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r>
                <a:rPr lang="en-AU" sz="1200" b="1" dirty="0">
                  <a:solidFill>
                    <a:schemeClr val="bg1"/>
                  </a:solidFill>
                </a:rPr>
                <a:t>Decis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C6164AE-4C87-5430-148E-06B02FE85729}"/>
              </a:ext>
            </a:extLst>
          </p:cNvPr>
          <p:cNvGrpSpPr/>
          <p:nvPr/>
        </p:nvGrpSpPr>
        <p:grpSpPr>
          <a:xfrm>
            <a:off x="3869529" y="3683119"/>
            <a:ext cx="1343007" cy="1393298"/>
            <a:chOff x="5418483" y="1878778"/>
            <a:chExt cx="1343007" cy="1393298"/>
          </a:xfrm>
        </p:grpSpPr>
        <p:sp>
          <p:nvSpPr>
            <p:cNvPr id="47" name="Hexagon 46">
              <a:extLst>
                <a:ext uri="{FF2B5EF4-FFF2-40B4-BE49-F238E27FC236}">
                  <a16:creationId xmlns:a16="http://schemas.microsoft.com/office/drawing/2014/main" id="{684D1341-9371-5ACA-9079-9D576A1027AA}"/>
                </a:ext>
              </a:extLst>
            </p:cNvPr>
            <p:cNvSpPr/>
            <p:nvPr/>
          </p:nvSpPr>
          <p:spPr>
            <a:xfrm rot="5400000">
              <a:off x="5393338" y="1903923"/>
              <a:ext cx="1393298" cy="1343007"/>
            </a:xfrm>
            <a:prstGeom prst="hexagon">
              <a:avLst/>
            </a:prstGeom>
            <a:gradFill flip="none" rotWithShape="1">
              <a:gsLst>
                <a:gs pos="0">
                  <a:srgbClr val="20757F">
                    <a:shade val="30000"/>
                    <a:satMod val="115000"/>
                  </a:srgbClr>
                </a:gs>
                <a:gs pos="50000">
                  <a:srgbClr val="20757F">
                    <a:shade val="67500"/>
                    <a:satMod val="115000"/>
                  </a:srgbClr>
                </a:gs>
                <a:gs pos="100000">
                  <a:srgbClr val="20757F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Hexagon 47">
              <a:extLst>
                <a:ext uri="{FF2B5EF4-FFF2-40B4-BE49-F238E27FC236}">
                  <a16:creationId xmlns:a16="http://schemas.microsoft.com/office/drawing/2014/main" id="{A34D12FF-469E-52B3-6467-62FACF0F40A3}"/>
                </a:ext>
              </a:extLst>
            </p:cNvPr>
            <p:cNvSpPr/>
            <p:nvPr/>
          </p:nvSpPr>
          <p:spPr>
            <a:xfrm rot="5400000">
              <a:off x="5539144" y="1963824"/>
              <a:ext cx="1113757" cy="1199378"/>
            </a:xfrm>
            <a:prstGeom prst="hexagon">
              <a:avLst/>
            </a:prstGeom>
            <a:gradFill flip="none" rotWithShape="1">
              <a:gsLst>
                <a:gs pos="100000">
                  <a:srgbClr val="BEDAD8">
                    <a:shade val="30000"/>
                    <a:satMod val="115000"/>
                  </a:srgbClr>
                </a:gs>
                <a:gs pos="50000">
                  <a:srgbClr val="BEDAD8">
                    <a:shade val="67500"/>
                    <a:satMod val="115000"/>
                  </a:srgbClr>
                </a:gs>
                <a:gs pos="0">
                  <a:srgbClr val="BEDAD8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r>
                <a:rPr lang="de-DE" sz="1400" b="1" dirty="0">
                  <a:solidFill>
                    <a:schemeClr val="bg1"/>
                  </a:solidFill>
                </a:rPr>
                <a:t>Team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E56B64E-22A3-AF62-B4AF-749E97938A95}"/>
              </a:ext>
            </a:extLst>
          </p:cNvPr>
          <p:cNvGrpSpPr/>
          <p:nvPr/>
        </p:nvGrpSpPr>
        <p:grpSpPr>
          <a:xfrm>
            <a:off x="5146758" y="2388638"/>
            <a:ext cx="1343007" cy="1393298"/>
            <a:chOff x="5418483" y="1878778"/>
            <a:chExt cx="1343007" cy="1393298"/>
          </a:xfrm>
        </p:grpSpPr>
        <p:sp>
          <p:nvSpPr>
            <p:cNvPr id="50" name="Hexagon 49">
              <a:extLst>
                <a:ext uri="{FF2B5EF4-FFF2-40B4-BE49-F238E27FC236}">
                  <a16:creationId xmlns:a16="http://schemas.microsoft.com/office/drawing/2014/main" id="{F44A70DF-0C77-FC3A-2F01-7D5499228D5A}"/>
                </a:ext>
              </a:extLst>
            </p:cNvPr>
            <p:cNvSpPr/>
            <p:nvPr/>
          </p:nvSpPr>
          <p:spPr>
            <a:xfrm rot="5400000">
              <a:off x="5393338" y="1903923"/>
              <a:ext cx="1393298" cy="1343007"/>
            </a:xfrm>
            <a:prstGeom prst="hexagon">
              <a:avLst/>
            </a:prstGeom>
            <a:gradFill flip="none" rotWithShape="1">
              <a:gsLst>
                <a:gs pos="0">
                  <a:srgbClr val="20757F">
                    <a:shade val="30000"/>
                    <a:satMod val="115000"/>
                  </a:srgbClr>
                </a:gs>
                <a:gs pos="50000">
                  <a:srgbClr val="20757F">
                    <a:shade val="67500"/>
                    <a:satMod val="115000"/>
                  </a:srgbClr>
                </a:gs>
                <a:gs pos="100000">
                  <a:srgbClr val="20757F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Hexagon 50">
              <a:extLst>
                <a:ext uri="{FF2B5EF4-FFF2-40B4-BE49-F238E27FC236}">
                  <a16:creationId xmlns:a16="http://schemas.microsoft.com/office/drawing/2014/main" id="{1839C124-12AF-712A-F95A-39DB4E6D41C3}"/>
                </a:ext>
              </a:extLst>
            </p:cNvPr>
            <p:cNvSpPr/>
            <p:nvPr/>
          </p:nvSpPr>
          <p:spPr>
            <a:xfrm rot="5400000">
              <a:off x="5533108" y="1922105"/>
              <a:ext cx="1113757" cy="1328460"/>
            </a:xfrm>
            <a:prstGeom prst="hexagon">
              <a:avLst/>
            </a:prstGeom>
            <a:gradFill flip="none" rotWithShape="1">
              <a:gsLst>
                <a:gs pos="99000">
                  <a:srgbClr val="B0B3CB">
                    <a:shade val="30000"/>
                    <a:satMod val="115000"/>
                  </a:srgbClr>
                </a:gs>
                <a:gs pos="50000">
                  <a:srgbClr val="B0B3CB">
                    <a:shade val="67500"/>
                    <a:satMod val="115000"/>
                  </a:srgbClr>
                </a:gs>
                <a:gs pos="96602">
                  <a:srgbClr val="B0B3CB">
                    <a:shade val="30000"/>
                    <a:satMod val="115000"/>
                  </a:srgbClr>
                </a:gs>
                <a:gs pos="2000">
                  <a:srgbClr val="B0B3CB">
                    <a:shade val="100000"/>
                    <a:satMod val="115000"/>
                    <a:lumMod val="90000"/>
                    <a:lumOff val="1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8100">
              <a:solidFill>
                <a:schemeClr val="tx1"/>
              </a:solidFill>
            </a:ln>
            <a:effectLst>
              <a:outerShdw blurRad="50800" dist="38100" dir="5400000" sx="104000" sy="104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r>
                <a:rPr lang="de-DE" sz="1400" b="1" dirty="0">
                  <a:solidFill>
                    <a:schemeClr val="bg1"/>
                  </a:solidFill>
                </a:rPr>
                <a:t>Solution</a:t>
              </a: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BF1B539A-0228-934B-DA6B-6AD8C4A54ACC}"/>
              </a:ext>
            </a:extLst>
          </p:cNvPr>
          <p:cNvSpPr txBox="1"/>
          <p:nvPr/>
        </p:nvSpPr>
        <p:spPr>
          <a:xfrm>
            <a:off x="1878179" y="1532933"/>
            <a:ext cx="1767738" cy="492443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en-GB" sz="1600" b="1" dirty="0"/>
              <a:t>Alignment &amp; Decision Mak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48E3E34-FA29-400A-AF20-884EF0177F68}"/>
              </a:ext>
            </a:extLst>
          </p:cNvPr>
          <p:cNvSpPr txBox="1"/>
          <p:nvPr/>
        </p:nvSpPr>
        <p:spPr>
          <a:xfrm>
            <a:off x="5458489" y="1529050"/>
            <a:ext cx="1584176" cy="492443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2"/>
              </a:buClr>
            </a:pPr>
            <a:r>
              <a:rPr lang="en-GB" sz="1600" b="1" dirty="0"/>
              <a:t>Driver for a Visio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6F29543-2FD4-67D9-A9C3-F620D3257205}"/>
              </a:ext>
            </a:extLst>
          </p:cNvPr>
          <p:cNvSpPr txBox="1"/>
          <p:nvPr/>
        </p:nvSpPr>
        <p:spPr>
          <a:xfrm>
            <a:off x="1878179" y="4212075"/>
            <a:ext cx="1767738" cy="246221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en-GB" sz="1600" b="1" dirty="0"/>
              <a:t>A Great Tea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BED7DAC-8CA8-C847-6931-B50B58F2998D}"/>
              </a:ext>
            </a:extLst>
          </p:cNvPr>
          <p:cNvSpPr txBox="1"/>
          <p:nvPr/>
        </p:nvSpPr>
        <p:spPr>
          <a:xfrm>
            <a:off x="5591944" y="4149080"/>
            <a:ext cx="1767738" cy="492443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2"/>
              </a:buClr>
            </a:pPr>
            <a:r>
              <a:rPr lang="en-GB" sz="1600" b="1" dirty="0"/>
              <a:t>Finding the Best Solution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375E3E6-84F3-08A4-9B41-35BD5C3941D7}"/>
              </a:ext>
            </a:extLst>
          </p:cNvPr>
          <p:cNvSpPr/>
          <p:nvPr/>
        </p:nvSpPr>
        <p:spPr>
          <a:xfrm>
            <a:off x="3405454" y="2066150"/>
            <a:ext cx="216024" cy="190047"/>
          </a:xfrm>
          <a:prstGeom prst="ellipse">
            <a:avLst/>
          </a:prstGeom>
          <a:solidFill>
            <a:schemeClr val="accent3"/>
          </a:solidFill>
          <a:ln w="38100">
            <a:solidFill>
              <a:srgbClr val="2075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D0E9B48-3444-ADFF-427F-A6F027D47C1E}"/>
              </a:ext>
            </a:extLst>
          </p:cNvPr>
          <p:cNvSpPr/>
          <p:nvPr/>
        </p:nvSpPr>
        <p:spPr>
          <a:xfrm>
            <a:off x="5568889" y="2066150"/>
            <a:ext cx="216024" cy="190047"/>
          </a:xfrm>
          <a:prstGeom prst="ellipse">
            <a:avLst/>
          </a:prstGeom>
          <a:solidFill>
            <a:schemeClr val="accent3"/>
          </a:solidFill>
          <a:ln w="38100">
            <a:solidFill>
              <a:srgbClr val="2075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6C2EDDD-EDF6-F83D-100B-BDD0E5D3B89B}"/>
              </a:ext>
            </a:extLst>
          </p:cNvPr>
          <p:cNvSpPr/>
          <p:nvPr/>
        </p:nvSpPr>
        <p:spPr>
          <a:xfrm>
            <a:off x="3405454" y="3923896"/>
            <a:ext cx="216024" cy="190047"/>
          </a:xfrm>
          <a:prstGeom prst="ellipse">
            <a:avLst/>
          </a:prstGeom>
          <a:solidFill>
            <a:schemeClr val="accent3"/>
          </a:solidFill>
          <a:ln w="38100">
            <a:solidFill>
              <a:srgbClr val="2075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en-GB" sz="1600" dirty="0" err="1">
              <a:solidFill>
                <a:schemeClr val="tx1"/>
              </a:solidFill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0F67B4D-32F1-EFB7-8348-8D520E693416}"/>
              </a:ext>
            </a:extLst>
          </p:cNvPr>
          <p:cNvCxnSpPr>
            <a:cxnSpLocks/>
            <a:stCxn id="57" idx="3"/>
            <a:endCxn id="58" idx="7"/>
          </p:cNvCxnSpPr>
          <p:nvPr/>
        </p:nvCxnSpPr>
        <p:spPr>
          <a:xfrm flipH="1">
            <a:off x="3589842" y="2228365"/>
            <a:ext cx="2010683" cy="172336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9" name="Oval 58">
            <a:extLst>
              <a:ext uri="{FF2B5EF4-FFF2-40B4-BE49-F238E27FC236}">
                <a16:creationId xmlns:a16="http://schemas.microsoft.com/office/drawing/2014/main" id="{952E5F66-BD12-04C2-321F-34AAB0451E75}"/>
              </a:ext>
            </a:extLst>
          </p:cNvPr>
          <p:cNvSpPr/>
          <p:nvPr/>
        </p:nvSpPr>
        <p:spPr>
          <a:xfrm>
            <a:off x="5463750" y="3923896"/>
            <a:ext cx="216024" cy="190047"/>
          </a:xfrm>
          <a:prstGeom prst="ellipse">
            <a:avLst/>
          </a:prstGeom>
          <a:solidFill>
            <a:schemeClr val="accent3"/>
          </a:solidFill>
          <a:ln w="38100">
            <a:solidFill>
              <a:srgbClr val="2075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en-GB" sz="1600" dirty="0" err="1">
              <a:solidFill>
                <a:schemeClr val="tx1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E73A933-A370-FC03-321A-5284EB6B3A18}"/>
              </a:ext>
            </a:extLst>
          </p:cNvPr>
          <p:cNvGrpSpPr/>
          <p:nvPr/>
        </p:nvGrpSpPr>
        <p:grpSpPr>
          <a:xfrm>
            <a:off x="3890100" y="2441506"/>
            <a:ext cx="1269348" cy="1287563"/>
            <a:chOff x="5461327" y="3145260"/>
            <a:chExt cx="1269348" cy="1287563"/>
          </a:xfrm>
        </p:grpSpPr>
        <p:sp>
          <p:nvSpPr>
            <p:cNvPr id="39" name="Circle: Hollow 38">
              <a:extLst>
                <a:ext uri="{FF2B5EF4-FFF2-40B4-BE49-F238E27FC236}">
                  <a16:creationId xmlns:a16="http://schemas.microsoft.com/office/drawing/2014/main" id="{63F5A950-A405-ECF3-16B9-37726CFBBF91}"/>
                </a:ext>
              </a:extLst>
            </p:cNvPr>
            <p:cNvSpPr/>
            <p:nvPr/>
          </p:nvSpPr>
          <p:spPr>
            <a:xfrm>
              <a:off x="5461327" y="3145260"/>
              <a:ext cx="1269348" cy="1287563"/>
            </a:xfrm>
            <a:prstGeom prst="donut">
              <a:avLst>
                <a:gd name="adj" fmla="val 47949"/>
              </a:avLst>
            </a:prstGeom>
            <a:solidFill>
              <a:schemeClr val="bg1"/>
            </a:solidFill>
            <a:ln>
              <a:solidFill>
                <a:srgbClr val="17445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Circle: Hollow 34">
              <a:extLst>
                <a:ext uri="{FF2B5EF4-FFF2-40B4-BE49-F238E27FC236}">
                  <a16:creationId xmlns:a16="http://schemas.microsoft.com/office/drawing/2014/main" id="{E76BDD33-C87B-33A1-CF22-C8CAA0B82731}"/>
                </a:ext>
              </a:extLst>
            </p:cNvPr>
            <p:cNvSpPr/>
            <p:nvPr/>
          </p:nvSpPr>
          <p:spPr>
            <a:xfrm>
              <a:off x="5575885" y="3272403"/>
              <a:ext cx="1040233" cy="1033276"/>
            </a:xfrm>
            <a:prstGeom prst="donut">
              <a:avLst>
                <a:gd name="adj" fmla="val 3068"/>
              </a:avLst>
            </a:prstGeom>
            <a:solidFill>
              <a:srgbClr val="1C2C3D"/>
            </a:solidFill>
            <a:ln>
              <a:solidFill>
                <a:srgbClr val="17445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AutoShape 4">
              <a:extLst>
                <a:ext uri="{FF2B5EF4-FFF2-40B4-BE49-F238E27FC236}">
                  <a16:creationId xmlns:a16="http://schemas.microsoft.com/office/drawing/2014/main" id="{0EDB1A0F-3B66-8B68-EF66-6BC69A5DA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8742" y="3392997"/>
              <a:ext cx="834518" cy="792088"/>
            </a:xfrm>
            <a:prstGeom prst="flowChartConnector">
              <a:avLst/>
            </a:prstGeom>
            <a:solidFill>
              <a:srgbClr val="193C53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9769" tIns="89769" rIns="89769" bIns="89769" anchor="ctr"/>
            <a:lstStyle/>
            <a:p>
              <a:pPr algn="ctr"/>
              <a:r>
                <a:rPr lang="en-AU" sz="2400" b="1" dirty="0">
                  <a:solidFill>
                    <a:schemeClr val="bg1"/>
                  </a:solidFill>
                </a:rPr>
                <a:t>LR</a:t>
              </a:r>
            </a:p>
          </p:txBody>
        </p:sp>
        <p:sp>
          <p:nvSpPr>
            <p:cNvPr id="37" name="Circle: Hollow 36">
              <a:extLst>
                <a:ext uri="{FF2B5EF4-FFF2-40B4-BE49-F238E27FC236}">
                  <a16:creationId xmlns:a16="http://schemas.microsoft.com/office/drawing/2014/main" id="{D3F51D76-626E-8B2A-F325-E28A732DE40D}"/>
                </a:ext>
              </a:extLst>
            </p:cNvPr>
            <p:cNvSpPr/>
            <p:nvPr/>
          </p:nvSpPr>
          <p:spPr>
            <a:xfrm>
              <a:off x="5461327" y="3145260"/>
              <a:ext cx="1269348" cy="1287563"/>
            </a:xfrm>
            <a:prstGeom prst="donut">
              <a:avLst>
                <a:gd name="adj" fmla="val 3068"/>
              </a:avLst>
            </a:prstGeom>
            <a:solidFill>
              <a:srgbClr val="1C2C3D"/>
            </a:solidFill>
            <a:ln>
              <a:solidFill>
                <a:srgbClr val="17445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90497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DB 16_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29,24126"/>
  <p:tag name="TOP" val="114,077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29,24126"/>
  <p:tag name="TOP" val="114,07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29,24126"/>
  <p:tag name="TOP" val="114,07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heme/theme1.xml><?xml version="1.0" encoding="utf-8"?>
<a:theme xmlns:a="http://schemas.openxmlformats.org/drawingml/2006/main" name="DB">
  <a:themeElements>
    <a:clrScheme name="DB Farben">
      <a:dk1>
        <a:sysClr val="windowText" lastClr="000000"/>
      </a:dk1>
      <a:lt1>
        <a:sysClr val="window" lastClr="FFFFFF"/>
      </a:lt1>
      <a:dk2>
        <a:srgbClr val="000000"/>
      </a:dk2>
      <a:lt2>
        <a:srgbClr val="878C96"/>
      </a:lt2>
      <a:accent1>
        <a:srgbClr val="D7DCE1"/>
      </a:accent1>
      <a:accent2>
        <a:srgbClr val="EC0016"/>
      </a:accent2>
      <a:accent3>
        <a:srgbClr val="F0F3F5"/>
      </a:accent3>
      <a:accent4>
        <a:srgbClr val="AFB4BB"/>
      </a:accent4>
      <a:accent5>
        <a:srgbClr val="3C414B"/>
      </a:accent5>
      <a:accent6>
        <a:srgbClr val="F0F3F5"/>
      </a:accent6>
      <a:hlink>
        <a:srgbClr val="3C414B"/>
      </a:hlink>
      <a:folHlink>
        <a:srgbClr val="878C96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ctr">
          <a:buClr>
            <a:schemeClr val="accent2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FB4B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</a:spPr>
      <a:bodyPr wrap="square" lIns="0" tIns="0" rIns="0" bIns="0" rtlCol="0">
        <a:spAutoFit/>
      </a:bodyPr>
      <a:lstStyle>
        <a:defPPr marL="180975" indent="-180975" algn="l">
          <a:buClr>
            <a:schemeClr val="accent2"/>
          </a:buClr>
          <a:buFont typeface="DB Sans" panose="020B0502050202020204" pitchFamily="34" charset="0"/>
          <a:buChar char="‒"/>
          <a:defRPr sz="1600" dirty="0" err="1" smtClean="0"/>
        </a:defPPr>
      </a:lstStyle>
    </a:txDef>
  </a:objectDefaults>
  <a:extraClrSchemeLst/>
  <a:custClrLst>
    <a:custClr name="Yellow 700">
      <a:srgbClr val="FF9B00"/>
    </a:custClr>
    <a:custClr name="Orange 700">
      <a:srgbClr val="C05E00"/>
    </a:custClr>
    <a:custClr name="Red 700">
      <a:srgbClr val="9B000E"/>
    </a:custClr>
    <a:custClr name="Burgundy 700">
      <a:srgbClr val="641E32"/>
    </a:custClr>
    <a:custClr name="Pink 700">
      <a:srgbClr val="B80065"/>
    </a:custClr>
    <a:custClr name="Violett 700">
      <a:srgbClr val="581D70"/>
    </a:custClr>
    <a:custClr name="Blue 700">
      <a:srgbClr val="0A1E6E"/>
    </a:custClr>
    <a:custClr name="Cyan 700">
      <a:srgbClr val="006A96"/>
    </a:custClr>
    <a:custClr name="Turquiose 700">
      <a:srgbClr val="006E6B"/>
    </a:custClr>
    <a:custClr name="Green 700">
      <a:srgbClr val="165C27"/>
    </a:custClr>
    <a:custClr name="Yellow 500">
      <a:srgbClr val="FFD800"/>
    </a:custClr>
    <a:custClr name="Orange 500">
      <a:srgbClr val="F39200"/>
    </a:custClr>
    <a:custClr name="Red 500">
      <a:srgbClr val="EC0016"/>
    </a:custClr>
    <a:custClr name="Burgundy 500">
      <a:srgbClr val="A9455D"/>
    </a:custClr>
    <a:custClr name="Pink 500">
      <a:srgbClr val="E93E8F"/>
    </a:custClr>
    <a:custClr name="Violett 500">
      <a:srgbClr val="814997"/>
    </a:custClr>
    <a:custClr name="Blue 500">
      <a:srgbClr val="1455C0"/>
    </a:custClr>
    <a:custClr name="Cyan 500">
      <a:srgbClr val="309FD1"/>
    </a:custClr>
    <a:custClr name="Turquiose 500">
      <a:srgbClr val="00A099"/>
    </a:custClr>
    <a:custClr name="Green 500">
      <a:srgbClr val="408335"/>
    </a:custClr>
    <a:custClr name="Yellow 300">
      <a:srgbClr val="FFF876"/>
    </a:custClr>
    <a:custClr name="Orange 300">
      <a:srgbClr val="FACA7F"/>
    </a:custClr>
    <a:custClr name="Red 300">
      <a:srgbClr val="FA9090"/>
    </a:custClr>
    <a:custClr name="Burgundy 300">
      <a:srgbClr val="DA9AA8"/>
    </a:custClr>
    <a:custClr name="Pink 300">
      <a:srgbClr val="F4AECE"/>
    </a:custClr>
    <a:custClr name="Violett 300">
      <a:srgbClr val="C2A1C7"/>
    </a:custClr>
    <a:custClr name="Blue 300">
      <a:srgbClr val="73AEF4"/>
    </a:custClr>
    <a:custClr name="Cyan 300">
      <a:srgbClr val="84CFEF"/>
    </a:custClr>
    <a:custClr name="Turquiose 300">
      <a:srgbClr val="83CACA"/>
    </a:custClr>
    <a:custClr name="Green 300">
      <a:srgbClr val="8CBC80"/>
    </a:custClr>
    <a:custClr name="Yellow 100">
      <a:srgbClr val="FFFFDC"/>
    </a:custClr>
    <a:custClr name="Orange 100">
      <a:srgbClr val="FFF4D8"/>
    </a:custClr>
    <a:custClr name="Red 100">
      <a:srgbClr val="FEE6E6"/>
    </a:custClr>
    <a:custClr name="Burgundy 100">
      <a:srgbClr val="F4E8ED"/>
    </a:custClr>
    <a:custClr name="Pink 100">
      <a:srgbClr val="FDEEF8"/>
    </a:custClr>
    <a:custClr name="Violett 100">
      <a:srgbClr val="F4EEFA"/>
    </a:custClr>
    <a:custClr name="Blue 100">
      <a:srgbClr val="E0EFFB"/>
    </a:custClr>
    <a:custClr name="Cyan 100">
      <a:srgbClr val="E5FAFF"/>
    </a:custClr>
    <a:custClr name="Turquiose 100">
      <a:srgbClr val="E3F5F4"/>
    </a:custClr>
    <a:custClr name="Green 100">
      <a:srgbClr val="E2F3E5"/>
    </a:custClr>
    <a:custClr name="Light Green 700">
      <a:srgbClr val="44741A"/>
    </a:custClr>
    <a:custClr name="Light Green 500">
      <a:srgbClr val="63A615"/>
    </a:custClr>
    <a:custClr name="Light Green 300">
      <a:srgbClr val="9FD45F"/>
    </a:custClr>
    <a:custClr name="Light Green 100">
      <a:srgbClr val="EBF7DD"/>
    </a:custClr>
    <a:custClr name="Warm Grey 700">
      <a:srgbClr val="4F4B41"/>
    </a:custClr>
    <a:custClr name="Warm Grey 500">
      <a:srgbClr val="858379"/>
    </a:custClr>
    <a:custClr name="Warm Grey 300">
      <a:srgbClr val="BCBBB2"/>
    </a:custClr>
    <a:custClr name="Warm Grey 100">
      <a:srgbClr val="F5F4F1"/>
    </a:custClr>
    <a:custClr name="Black">
      <a:srgbClr val="00000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DB T-Ressort_16_9.potx" id="{8A23B78A-2483-44C9-BEF6-185261FD2DD0}" vid="{34694EB6-C734-4F96-B973-5525F487E614}"/>
    </a:ext>
  </a:extLst>
</a:theme>
</file>

<file path=ppt/theme/theme2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B T-Ressort_16_9</Template>
  <TotalTime>0</TotalTime>
  <Words>735</Words>
  <Application>Microsoft Office PowerPoint</Application>
  <PresentationFormat>Widescreen</PresentationFormat>
  <Paragraphs>172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DB Head</vt:lpstr>
      <vt:lpstr>DB Head Black</vt:lpstr>
      <vt:lpstr>DB Head Light</vt:lpstr>
      <vt:lpstr>DB Sans</vt:lpstr>
      <vt:lpstr>Lato Heavy</vt:lpstr>
      <vt:lpstr>Lato Light</vt:lpstr>
      <vt:lpstr>Roboto Medium</vt:lpstr>
      <vt:lpstr>DB</vt:lpstr>
      <vt:lpstr>think-cell Folie</vt:lpstr>
      <vt:lpstr>T-Vorgaben für die Masternutzu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-Vorgaben für die Masternutzung</dc:title>
  <dc:creator>Paul Julitz</dc:creator>
  <cp:lastModifiedBy>Paul Julitz</cp:lastModifiedBy>
  <cp:revision>5</cp:revision>
  <dcterms:created xsi:type="dcterms:W3CDTF">2024-07-02T15:39:59Z</dcterms:created>
  <dcterms:modified xsi:type="dcterms:W3CDTF">2024-10-20T16:04:56Z</dcterms:modified>
</cp:coreProperties>
</file>